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2" r:id="rId4"/>
    <p:sldMasterId id="2147483685" r:id="rId5"/>
  </p:sldMasterIdLst>
  <p:notesMasterIdLst>
    <p:notesMasterId r:id="rId23"/>
  </p:notesMasterIdLst>
  <p:sldIdLst>
    <p:sldId id="265" r:id="rId6"/>
    <p:sldId id="273" r:id="rId7"/>
    <p:sldId id="274" r:id="rId8"/>
    <p:sldId id="275" r:id="rId9"/>
    <p:sldId id="276" r:id="rId10"/>
    <p:sldId id="278" r:id="rId11"/>
    <p:sldId id="289" r:id="rId12"/>
    <p:sldId id="279" r:id="rId13"/>
    <p:sldId id="281" r:id="rId14"/>
    <p:sldId id="282" r:id="rId15"/>
    <p:sldId id="283" r:id="rId16"/>
    <p:sldId id="284" r:id="rId17"/>
    <p:sldId id="285" r:id="rId18"/>
    <p:sldId id="286" r:id="rId19"/>
    <p:sldId id="287" r:id="rId20"/>
    <p:sldId id="288" r:id="rId21"/>
    <p:sldId id="271" r:id="rId2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022" autoAdjust="0"/>
    <p:restoredTop sz="80964" autoAdjust="0"/>
  </p:normalViewPr>
  <p:slideViewPr>
    <p:cSldViewPr snapToGrid="0" snapToObjects="1">
      <p:cViewPr varScale="1">
        <p:scale>
          <a:sx n="77" d="100"/>
          <a:sy n="77" d="100"/>
        </p:scale>
        <p:origin x="126" y="22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169" d="100"/>
          <a:sy n="169" d="100"/>
        </p:scale>
        <p:origin x="5400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EA2BD1-3334-BA48-909A-302863812F04}" type="datetimeFigureOut">
              <a:rPr lang="en-US" smtClean="0"/>
              <a:t>11/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8158D7E-757C-DD41-9BD7-FCEE5AEFF0E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15817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158D7E-757C-DD41-9BD7-FCEE5AEFF0E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442133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158D7E-757C-DD41-9BD7-FCEE5AEFF0EB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12410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158D7E-757C-DD41-9BD7-FCEE5AEFF0EB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625218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158D7E-757C-DD41-9BD7-FCEE5AEFF0EB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393848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158D7E-757C-DD41-9BD7-FCEE5AEFF0EB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27162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158D7E-757C-DD41-9BD7-FCEE5AEFF0EB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313487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158D7E-757C-DD41-9BD7-FCEE5AEFF0EB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656970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158D7E-757C-DD41-9BD7-FCEE5AEFF0EB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313864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158D7E-757C-DD41-9BD7-FCEE5AEFF0EB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1792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158D7E-757C-DD41-9BD7-FCEE5AEFF0EB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84654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158D7E-757C-DD41-9BD7-FCEE5AEFF0EB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98009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158D7E-757C-DD41-9BD7-FCEE5AEFF0EB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88568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158D7E-757C-DD41-9BD7-FCEE5AEFF0EB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104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158D7E-757C-DD41-9BD7-FCEE5AEFF0EB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651630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158D7E-757C-DD41-9BD7-FCEE5AEFF0EB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90524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158D7E-757C-DD41-9BD7-FCEE5AEFF0EB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1207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158D7E-757C-DD41-9BD7-FCEE5AEFF0EB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79820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hyperlink" Target="mailto:reception@iogp.or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hyperlink" Target="mailto:reception-americas@iogp.org" TargetMode="External"/><Relationship Id="rId4" Type="http://schemas.openxmlformats.org/officeDocument/2006/relationships/hyperlink" Target="mailto:reception-europe@iogp.org" TargetMode="Externa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13241FE-18DA-C94C-ADC6-B82D7A561E5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988050" y="1809749"/>
            <a:ext cx="5903913" cy="4320000"/>
          </a:xfrm>
          <a:noFill/>
          <a:ln>
            <a:noFill/>
          </a:ln>
        </p:spPr>
        <p:txBody>
          <a:bodyPr anchor="ctr" anchorCtr="1"/>
          <a:lstStyle/>
          <a:p>
            <a:r>
              <a:rPr lang="en-US"/>
              <a:t>Click icon to add picture</a:t>
            </a: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5DC5D0A9-DB84-FE4F-AEA2-87A9EE0AB5D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00038" y="1808163"/>
            <a:ext cx="6208319" cy="4320000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17"/>
              <a:gd name="connsiteX1" fmla="*/ 2000 w 10000"/>
              <a:gd name="connsiteY1" fmla="*/ 0 h 10017"/>
              <a:gd name="connsiteX2" fmla="*/ 10000 w 10000"/>
              <a:gd name="connsiteY2" fmla="*/ 0 h 10017"/>
              <a:gd name="connsiteX3" fmla="*/ 9234 w 10000"/>
              <a:gd name="connsiteY3" fmla="*/ 10017 h 10017"/>
              <a:gd name="connsiteX4" fmla="*/ 0 w 10000"/>
              <a:gd name="connsiteY4" fmla="*/ 10000 h 10017"/>
              <a:gd name="connsiteX0" fmla="*/ 3205 w 13205"/>
              <a:gd name="connsiteY0" fmla="*/ 10017 h 10034"/>
              <a:gd name="connsiteX1" fmla="*/ 0 w 13205"/>
              <a:gd name="connsiteY1" fmla="*/ 0 h 10034"/>
              <a:gd name="connsiteX2" fmla="*/ 13205 w 13205"/>
              <a:gd name="connsiteY2" fmla="*/ 17 h 10034"/>
              <a:gd name="connsiteX3" fmla="*/ 12439 w 13205"/>
              <a:gd name="connsiteY3" fmla="*/ 10034 h 10034"/>
              <a:gd name="connsiteX4" fmla="*/ 3205 w 13205"/>
              <a:gd name="connsiteY4" fmla="*/ 10017 h 10034"/>
              <a:gd name="connsiteX0" fmla="*/ 3205 w 13205"/>
              <a:gd name="connsiteY0" fmla="*/ 10000 h 10017"/>
              <a:gd name="connsiteX1" fmla="*/ 0 w 13205"/>
              <a:gd name="connsiteY1" fmla="*/ 0 h 10017"/>
              <a:gd name="connsiteX2" fmla="*/ 13205 w 13205"/>
              <a:gd name="connsiteY2" fmla="*/ 0 h 10017"/>
              <a:gd name="connsiteX3" fmla="*/ 12439 w 13205"/>
              <a:gd name="connsiteY3" fmla="*/ 10017 h 10017"/>
              <a:gd name="connsiteX4" fmla="*/ 3205 w 13205"/>
              <a:gd name="connsiteY4" fmla="*/ 10000 h 10017"/>
              <a:gd name="connsiteX0" fmla="*/ 0 w 13212"/>
              <a:gd name="connsiteY0" fmla="*/ 9983 h 10017"/>
              <a:gd name="connsiteX1" fmla="*/ 7 w 13212"/>
              <a:gd name="connsiteY1" fmla="*/ 0 h 10017"/>
              <a:gd name="connsiteX2" fmla="*/ 13212 w 13212"/>
              <a:gd name="connsiteY2" fmla="*/ 0 h 10017"/>
              <a:gd name="connsiteX3" fmla="*/ 12446 w 13212"/>
              <a:gd name="connsiteY3" fmla="*/ 10017 h 10017"/>
              <a:gd name="connsiteX4" fmla="*/ 0 w 13212"/>
              <a:gd name="connsiteY4" fmla="*/ 9983 h 100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12" h="10017">
                <a:moveTo>
                  <a:pt x="0" y="9983"/>
                </a:moveTo>
                <a:cubicBezTo>
                  <a:pt x="2" y="6655"/>
                  <a:pt x="5" y="3328"/>
                  <a:pt x="7" y="0"/>
                </a:cubicBezTo>
                <a:lnTo>
                  <a:pt x="13212" y="0"/>
                </a:lnTo>
                <a:cubicBezTo>
                  <a:pt x="12957" y="3339"/>
                  <a:pt x="12701" y="6678"/>
                  <a:pt x="12446" y="10017"/>
                </a:cubicBezTo>
                <a:lnTo>
                  <a:pt x="0" y="9983"/>
                </a:lnTo>
                <a:close/>
              </a:path>
            </a:pathLst>
          </a:cu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>
            <a:normAutofit/>
          </a:bodyPr>
          <a:lstStyle>
            <a:lvl1pPr>
              <a:defRPr sz="1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B00D747-620F-004F-82F4-97175ABFBCF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944" y="239587"/>
            <a:ext cx="3081071" cy="1050985"/>
          </a:xfrm>
          <a:prstGeom prst="rect">
            <a:avLst/>
          </a:prstGeom>
        </p:spPr>
      </p:pic>
      <p:sp>
        <p:nvSpPr>
          <p:cNvPr id="10" name="Subtitle 2">
            <a:extLst>
              <a:ext uri="{FF2B5EF4-FFF2-40B4-BE49-F238E27FC236}">
                <a16:creationId xmlns:a16="http://schemas.microsoft.com/office/drawing/2014/main" id="{C65FBE41-0566-B448-A1E9-4918AD55179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8652" y="4448247"/>
            <a:ext cx="5202767" cy="1395663"/>
          </a:xfr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None/>
              <a:defRPr sz="240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Presentation or event</a:t>
            </a:r>
            <a:br>
              <a:rPr lang="en-GB" dirty="0"/>
            </a:br>
            <a:r>
              <a:rPr lang="en-GB" dirty="0"/>
              <a:t>Day Month Year</a:t>
            </a:r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B47B300-65F2-5842-B967-518DCBDDA199}"/>
              </a:ext>
            </a:extLst>
          </p:cNvPr>
          <p:cNvSpPr/>
          <p:nvPr userDrawn="1"/>
        </p:nvSpPr>
        <p:spPr>
          <a:xfrm>
            <a:off x="10752794" y="6283922"/>
            <a:ext cx="1216908" cy="4262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D1933E-AAF6-6B49-9C03-3BD5D1DD3E5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8652" y="2165350"/>
            <a:ext cx="5219008" cy="2214563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Title of the presenta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A0C423F-491F-4A41-B1BC-5FAB1910F241}"/>
              </a:ext>
            </a:extLst>
          </p:cNvPr>
          <p:cNvSpPr txBox="1"/>
          <p:nvPr userDrawn="1"/>
        </p:nvSpPr>
        <p:spPr>
          <a:xfrm>
            <a:off x="222298" y="6283922"/>
            <a:ext cx="369277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8394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EC3969FA-24CE-B64E-999E-44829E8C30B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988050" y="329637"/>
            <a:ext cx="5903913" cy="5810250"/>
          </a:xfrm>
          <a:solidFill>
            <a:schemeClr val="bg1"/>
          </a:solidFill>
        </p:spPr>
        <p:txBody>
          <a:bodyPr anchor="ctr" anchorCtr="1"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Picture Placeholder 20">
            <a:extLst>
              <a:ext uri="{FF2B5EF4-FFF2-40B4-BE49-F238E27FC236}">
                <a16:creationId xmlns:a16="http://schemas.microsoft.com/office/drawing/2014/main" id="{430D7DE5-BFE4-194A-8D10-3BC3E599BE2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00038" y="330365"/>
            <a:ext cx="6208319" cy="5806320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17"/>
              <a:gd name="connsiteX1" fmla="*/ 2000 w 10000"/>
              <a:gd name="connsiteY1" fmla="*/ 0 h 10017"/>
              <a:gd name="connsiteX2" fmla="*/ 10000 w 10000"/>
              <a:gd name="connsiteY2" fmla="*/ 0 h 10017"/>
              <a:gd name="connsiteX3" fmla="*/ 9234 w 10000"/>
              <a:gd name="connsiteY3" fmla="*/ 10017 h 10017"/>
              <a:gd name="connsiteX4" fmla="*/ 0 w 10000"/>
              <a:gd name="connsiteY4" fmla="*/ 10000 h 10017"/>
              <a:gd name="connsiteX0" fmla="*/ 3205 w 13205"/>
              <a:gd name="connsiteY0" fmla="*/ 10017 h 10034"/>
              <a:gd name="connsiteX1" fmla="*/ 0 w 13205"/>
              <a:gd name="connsiteY1" fmla="*/ 0 h 10034"/>
              <a:gd name="connsiteX2" fmla="*/ 13205 w 13205"/>
              <a:gd name="connsiteY2" fmla="*/ 17 h 10034"/>
              <a:gd name="connsiteX3" fmla="*/ 12439 w 13205"/>
              <a:gd name="connsiteY3" fmla="*/ 10034 h 10034"/>
              <a:gd name="connsiteX4" fmla="*/ 3205 w 13205"/>
              <a:gd name="connsiteY4" fmla="*/ 10017 h 10034"/>
              <a:gd name="connsiteX0" fmla="*/ 3205 w 13205"/>
              <a:gd name="connsiteY0" fmla="*/ 10000 h 10017"/>
              <a:gd name="connsiteX1" fmla="*/ 0 w 13205"/>
              <a:gd name="connsiteY1" fmla="*/ 0 h 10017"/>
              <a:gd name="connsiteX2" fmla="*/ 13205 w 13205"/>
              <a:gd name="connsiteY2" fmla="*/ 0 h 10017"/>
              <a:gd name="connsiteX3" fmla="*/ 12439 w 13205"/>
              <a:gd name="connsiteY3" fmla="*/ 10017 h 10017"/>
              <a:gd name="connsiteX4" fmla="*/ 3205 w 13205"/>
              <a:gd name="connsiteY4" fmla="*/ 10000 h 10017"/>
              <a:gd name="connsiteX0" fmla="*/ 0 w 13212"/>
              <a:gd name="connsiteY0" fmla="*/ 9983 h 10017"/>
              <a:gd name="connsiteX1" fmla="*/ 7 w 13212"/>
              <a:gd name="connsiteY1" fmla="*/ 0 h 10017"/>
              <a:gd name="connsiteX2" fmla="*/ 13212 w 13212"/>
              <a:gd name="connsiteY2" fmla="*/ 0 h 10017"/>
              <a:gd name="connsiteX3" fmla="*/ 12446 w 13212"/>
              <a:gd name="connsiteY3" fmla="*/ 10017 h 10017"/>
              <a:gd name="connsiteX4" fmla="*/ 0 w 13212"/>
              <a:gd name="connsiteY4" fmla="*/ 9983 h 100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12" h="10017">
                <a:moveTo>
                  <a:pt x="0" y="9983"/>
                </a:moveTo>
                <a:cubicBezTo>
                  <a:pt x="2" y="6655"/>
                  <a:pt x="5" y="3328"/>
                  <a:pt x="7" y="0"/>
                </a:cubicBezTo>
                <a:lnTo>
                  <a:pt x="13212" y="0"/>
                </a:lnTo>
                <a:cubicBezTo>
                  <a:pt x="12957" y="3339"/>
                  <a:pt x="12701" y="6678"/>
                  <a:pt x="12446" y="10017"/>
                </a:cubicBezTo>
                <a:lnTo>
                  <a:pt x="0" y="998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>
            <a:noAutofit/>
          </a:bodyPr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43C5B40E-FF61-684D-9006-F5F6076E9BC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8652" y="329878"/>
            <a:ext cx="5219008" cy="5799460"/>
          </a:xfrm>
        </p:spPr>
        <p:txBody>
          <a:bodyPr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Divider title</a:t>
            </a:r>
          </a:p>
        </p:txBody>
      </p:sp>
    </p:spTree>
    <p:extLst>
      <p:ext uri="{BB962C8B-B14F-4D97-AF65-F5344CB8AC3E}">
        <p14:creationId xmlns:p14="http://schemas.microsoft.com/office/powerpoint/2010/main" val="19301860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9C9EA729-AE1A-4A46-8BF8-C55358A227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9DF0561-2B28-B64A-A163-B964D41047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0038" y="1808163"/>
            <a:ext cx="11591925" cy="4321175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34026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mages + 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9C9EA729-AE1A-4A46-8BF8-C55358A227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9DF0561-2B28-B64A-A163-B964D41047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0039" y="1808164"/>
            <a:ext cx="5688012" cy="482550"/>
          </a:xfrm>
        </p:spPr>
        <p:txBody>
          <a:bodyPr/>
          <a:lstStyle>
            <a:lvl1pPr marL="0" indent="0">
              <a:buNone/>
              <a:defRPr sz="22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25D7855-A26F-4D45-919E-4F8B1C8B2F1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00038" y="2451100"/>
            <a:ext cx="5688012" cy="3678238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99030AE1-AE17-EC49-9572-58093B9722F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67438" y="1808164"/>
            <a:ext cx="5688012" cy="482550"/>
          </a:xfrm>
        </p:spPr>
        <p:txBody>
          <a:bodyPr/>
          <a:lstStyle>
            <a:lvl1pPr marL="0" indent="0">
              <a:buNone/>
              <a:defRPr sz="22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6C7B18A5-DDC8-904A-8BA0-8AC7523E7BC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67437" y="2451100"/>
            <a:ext cx="5688012" cy="3678238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7482779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B5B5A8F-FE93-4F4C-B6DF-676809D8A201}"/>
              </a:ext>
            </a:extLst>
          </p:cNvPr>
          <p:cNvSpPr/>
          <p:nvPr userDrawn="1"/>
        </p:nvSpPr>
        <p:spPr>
          <a:xfrm>
            <a:off x="303213" y="1814513"/>
            <a:ext cx="6215062" cy="4321175"/>
          </a:xfrm>
          <a:custGeom>
            <a:avLst/>
            <a:gdLst>
              <a:gd name="connsiteX0" fmla="*/ 0 w 5784503"/>
              <a:gd name="connsiteY0" fmla="*/ 0 h 4321175"/>
              <a:gd name="connsiteX1" fmla="*/ 5784503 w 5784503"/>
              <a:gd name="connsiteY1" fmla="*/ 0 h 4321175"/>
              <a:gd name="connsiteX2" fmla="*/ 5784503 w 5784503"/>
              <a:gd name="connsiteY2" fmla="*/ 4321175 h 4321175"/>
              <a:gd name="connsiteX3" fmla="*/ 0 w 5784503"/>
              <a:gd name="connsiteY3" fmla="*/ 4321175 h 4321175"/>
              <a:gd name="connsiteX4" fmla="*/ 0 w 5784503"/>
              <a:gd name="connsiteY4" fmla="*/ 0 h 4321175"/>
              <a:gd name="connsiteX0" fmla="*/ 0 w 6148888"/>
              <a:gd name="connsiteY0" fmla="*/ 0 h 4321175"/>
              <a:gd name="connsiteX1" fmla="*/ 6148888 w 6148888"/>
              <a:gd name="connsiteY1" fmla="*/ 6875 h 4321175"/>
              <a:gd name="connsiteX2" fmla="*/ 5784503 w 6148888"/>
              <a:gd name="connsiteY2" fmla="*/ 4321175 h 4321175"/>
              <a:gd name="connsiteX3" fmla="*/ 0 w 6148888"/>
              <a:gd name="connsiteY3" fmla="*/ 4321175 h 4321175"/>
              <a:gd name="connsiteX4" fmla="*/ 0 w 6148888"/>
              <a:gd name="connsiteY4" fmla="*/ 0 h 432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48888" h="4321175">
                <a:moveTo>
                  <a:pt x="0" y="0"/>
                </a:moveTo>
                <a:lnTo>
                  <a:pt x="6148888" y="6875"/>
                </a:lnTo>
                <a:lnTo>
                  <a:pt x="5784503" y="4321175"/>
                </a:lnTo>
                <a:lnTo>
                  <a:pt x="0" y="4321175"/>
                </a:lnTo>
                <a:lnTo>
                  <a:pt x="0" y="0"/>
                </a:lnTo>
                <a:close/>
              </a:path>
            </a:pathLst>
          </a:cu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B00D747-620F-004F-82F4-97175ABFBCF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944" y="239587"/>
            <a:ext cx="3081071" cy="1050985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AB47B300-65F2-5842-B967-518DCBDDA199}"/>
              </a:ext>
            </a:extLst>
          </p:cNvPr>
          <p:cNvSpPr/>
          <p:nvPr userDrawn="1"/>
        </p:nvSpPr>
        <p:spPr>
          <a:xfrm>
            <a:off x="10752794" y="6283922"/>
            <a:ext cx="1216908" cy="4262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3116FB8-FD5A-204B-8E65-DC56F22B0F61}"/>
              </a:ext>
            </a:extLst>
          </p:cNvPr>
          <p:cNvSpPr txBox="1"/>
          <p:nvPr userDrawn="1"/>
        </p:nvSpPr>
        <p:spPr>
          <a:xfrm>
            <a:off x="666000" y="2340000"/>
            <a:ext cx="5854995" cy="399600"/>
          </a:xfrm>
          <a:prstGeom prst="rect">
            <a:avLst/>
          </a:prstGeom>
          <a:noFill/>
          <a:ln>
            <a:noFill/>
          </a:ln>
        </p:spPr>
        <p:txBody>
          <a:bodyPr wrap="square" lIns="0" rtlCol="0">
            <a:spAutoFit/>
          </a:bodyPr>
          <a:lstStyle/>
          <a:p>
            <a:pPr defTabSz="457200"/>
            <a:r>
              <a:rPr lang="en-US" sz="2000" dirty="0">
                <a:solidFill>
                  <a:srgbClr val="FFFFFF"/>
                </a:solidFill>
              </a:rPr>
              <a:t>For more information please contact: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7D1731D-C2EC-AA41-BD71-E749B5162D9E}"/>
              </a:ext>
            </a:extLst>
          </p:cNvPr>
          <p:cNvSpPr txBox="1"/>
          <p:nvPr userDrawn="1"/>
        </p:nvSpPr>
        <p:spPr>
          <a:xfrm>
            <a:off x="6927011" y="1808163"/>
            <a:ext cx="4964951" cy="4321175"/>
          </a:xfrm>
          <a:prstGeom prst="rect">
            <a:avLst/>
          </a:prstGeom>
          <a:noFill/>
        </p:spPr>
        <p:txBody>
          <a:bodyPr wrap="square" lIns="0" tIns="0" rIns="0" bIns="0" numCol="1" spcCol="180000" rtlCol="0" anchor="ctr" anchorCtr="0">
            <a:noAutofit/>
          </a:bodyPr>
          <a:lstStyle/>
          <a:p>
            <a:pPr>
              <a:lnSpc>
                <a:spcPts val="1600"/>
              </a:lnSpc>
              <a:spcBef>
                <a:spcPts val="0"/>
              </a:spcBef>
              <a:spcAft>
                <a:spcPts val="500"/>
              </a:spcAft>
            </a:pPr>
            <a:r>
              <a:rPr lang="en-US" sz="1300" b="1" kern="1200" baseline="0" dirty="0">
                <a:solidFill>
                  <a:srgbClr val="833177"/>
                </a:solidFill>
                <a:latin typeface="+mn-lt"/>
                <a:ea typeface="+mn-ea"/>
                <a:cs typeface="+mn-cs"/>
              </a:rPr>
              <a:t>Registered Office</a:t>
            </a:r>
            <a:endParaRPr lang="en-US" sz="1300" b="0" kern="1200" baseline="0" dirty="0">
              <a:solidFill>
                <a:srgbClr val="833177"/>
              </a:solidFill>
              <a:latin typeface="+mn-lt"/>
              <a:ea typeface="+mn-ea"/>
              <a:cs typeface="+mn-cs"/>
            </a:endParaRPr>
          </a:p>
          <a:p>
            <a:pPr>
              <a:lnSpc>
                <a:spcPts val="1600"/>
              </a:lnSpc>
              <a:spcBef>
                <a:spcPts val="100"/>
              </a:spcBef>
              <a:spcAft>
                <a:spcPts val="0"/>
              </a:spcAft>
            </a:pPr>
            <a:r>
              <a:rPr lang="en-GB" sz="1100" b="0" kern="1200" baseline="0" dirty="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City Tower, Level 14, 40 </a:t>
            </a:r>
            <a:r>
              <a:rPr lang="en-GB" sz="1100" b="0" kern="1200" baseline="0" dirty="0" err="1">
                <a:solidFill>
                  <a:srgbClr val="000000"/>
                </a:solidFill>
                <a:latin typeface="+mn-lt"/>
                <a:ea typeface="+mn-ea"/>
                <a:cs typeface="+mn-cs"/>
              </a:rPr>
              <a:t>Basinghall</a:t>
            </a:r>
            <a:r>
              <a:rPr lang="en-GB" sz="1100" b="0" kern="1200" baseline="0" dirty="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 Street, London EC2V 5DE</a:t>
            </a:r>
            <a:r>
              <a:rPr lang="en-US" sz="1100" b="0" kern="1200" baseline="0" dirty="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, United Kingdom</a:t>
            </a:r>
          </a:p>
          <a:p>
            <a:pPr>
              <a:lnSpc>
                <a:spcPts val="1600"/>
              </a:lnSpc>
              <a:spcBef>
                <a:spcPts val="100"/>
              </a:spcBef>
              <a:spcAft>
                <a:spcPts val="0"/>
              </a:spcAft>
            </a:pPr>
            <a:r>
              <a:rPr lang="en-US" sz="1100" b="0" kern="1200" baseline="0" dirty="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+44 (0)20 3763 9700</a:t>
            </a:r>
          </a:p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0" kern="1200" baseline="0" dirty="0">
                <a:solidFill>
                  <a:srgbClr val="000000"/>
                </a:solidFill>
                <a:latin typeface="+mn-lt"/>
                <a:ea typeface="+mn-ea"/>
                <a:cs typeface="+mn-cs"/>
                <a:hlinkClick r:id="rId3"/>
              </a:rPr>
              <a:t>reception@iogp.org</a:t>
            </a:r>
            <a:endParaRPr lang="en-US" sz="1100" b="0" kern="1200" baseline="0" dirty="0">
              <a:solidFill>
                <a:srgbClr val="000000"/>
              </a:solidFill>
              <a:latin typeface="+mn-lt"/>
              <a:ea typeface="+mn-ea"/>
              <a:cs typeface="+mn-cs"/>
            </a:endParaRPr>
          </a:p>
          <a:p>
            <a:pPr marL="0">
              <a:lnSpc>
                <a:spcPts val="1600"/>
              </a:lnSpc>
              <a:spcBef>
                <a:spcPts val="0"/>
              </a:spcBef>
              <a:spcAft>
                <a:spcPts val="500"/>
              </a:spcAft>
            </a:pPr>
            <a:endParaRPr lang="en-US" sz="1300" b="1" kern="1200" baseline="0" dirty="0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  <a:p>
            <a:pPr marL="0">
              <a:lnSpc>
                <a:spcPts val="1600"/>
              </a:lnSpc>
              <a:spcBef>
                <a:spcPts val="0"/>
              </a:spcBef>
              <a:spcAft>
                <a:spcPts val="500"/>
              </a:spcAft>
            </a:pPr>
            <a:r>
              <a:rPr lang="en-US" sz="1300" b="1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Brussels Office</a:t>
            </a:r>
          </a:p>
          <a:p>
            <a:pPr>
              <a:lnSpc>
                <a:spcPts val="1600"/>
              </a:lnSpc>
              <a:spcBef>
                <a:spcPts val="0"/>
              </a:spcBef>
              <a:spcAft>
                <a:spcPts val="0"/>
              </a:spcAft>
            </a:pPr>
            <a:r>
              <a:rPr lang="fr" sz="11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venue de Tervuren 188A, B-1150 Brussels, </a:t>
            </a:r>
            <a:r>
              <a:rPr lang="fr" sz="11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lgium</a:t>
            </a:r>
            <a:endParaRPr lang="fr" sz="11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>
              <a:lnSpc>
                <a:spcPts val="1600"/>
              </a:lnSpc>
            </a:pPr>
            <a:r>
              <a:rPr lang="en-GB" sz="11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+32 (0)2 790 7762</a:t>
            </a:r>
          </a:p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0" kern="1200" baseline="0" dirty="0">
                <a:solidFill>
                  <a:srgbClr val="000000"/>
                </a:solidFill>
                <a:latin typeface="+mn-lt"/>
                <a:ea typeface="+mn-ea"/>
                <a:cs typeface="+mn-cs"/>
                <a:hlinkClick r:id="rId4"/>
              </a:rPr>
              <a:t>reception-europe@iogp.org</a:t>
            </a:r>
            <a:endParaRPr lang="en-US" sz="1100" b="0" kern="1200" baseline="0" dirty="0">
              <a:solidFill>
                <a:srgbClr val="000000"/>
              </a:solidFill>
              <a:latin typeface="+mn-lt"/>
              <a:ea typeface="+mn-ea"/>
              <a:cs typeface="+mn-cs"/>
            </a:endParaRPr>
          </a:p>
          <a:p>
            <a:pPr marL="0">
              <a:lnSpc>
                <a:spcPts val="1600"/>
              </a:lnSpc>
              <a:spcBef>
                <a:spcPts val="0"/>
              </a:spcBef>
              <a:spcAft>
                <a:spcPts val="400"/>
              </a:spcAft>
            </a:pPr>
            <a:endParaRPr lang="en-US" sz="1300" b="1" kern="1200" baseline="0" dirty="0">
              <a:solidFill>
                <a:schemeClr val="accent2"/>
              </a:solidFill>
              <a:latin typeface="+mn-lt"/>
              <a:ea typeface="+mn-ea"/>
              <a:cs typeface="+mn-cs"/>
            </a:endParaRPr>
          </a:p>
          <a:p>
            <a:pPr marL="0">
              <a:lnSpc>
                <a:spcPts val="1600"/>
              </a:lnSpc>
              <a:spcBef>
                <a:spcPts val="0"/>
              </a:spcBef>
              <a:spcAft>
                <a:spcPts val="400"/>
              </a:spcAft>
            </a:pPr>
            <a:r>
              <a:rPr lang="en-US" sz="1300" b="1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Houston Office</a:t>
            </a:r>
          </a:p>
          <a:p>
            <a:pPr marL="0" marR="0" lvl="0" indent="0" algn="l" defTabSz="457200" rtl="0" eaLnBrk="1" fontAlgn="auto" latinLnBrk="0" hangingPunct="1">
              <a:lnSpc>
                <a:spcPts val="16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5377 Memorial Drive Suite 250, Houston, Texas 77079, </a:t>
            </a:r>
            <a:r>
              <a:rPr lang="en-GB" sz="11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nited States</a:t>
            </a:r>
          </a:p>
          <a:p>
            <a:pPr>
              <a:lnSpc>
                <a:spcPts val="1600"/>
              </a:lnSpc>
              <a:spcAft>
                <a:spcPts val="0"/>
              </a:spcAft>
            </a:pPr>
            <a:r>
              <a:rPr lang="en-GB" sz="11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+1 (713) 261 0411</a:t>
            </a:r>
          </a:p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0" kern="1200" baseline="0" dirty="0">
                <a:solidFill>
                  <a:srgbClr val="000000"/>
                </a:solidFill>
                <a:latin typeface="+mn-lt"/>
                <a:ea typeface="+mn-ea"/>
                <a:cs typeface="+mn-cs"/>
                <a:hlinkClick r:id="rId5"/>
              </a:rPr>
              <a:t>reception-americas@iogp.org</a:t>
            </a:r>
            <a:endParaRPr lang="en-US" sz="1100" b="0" kern="1200" baseline="0" dirty="0">
              <a:solidFill>
                <a:srgbClr val="00000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2B1E1B4-DDB0-2A4B-A0E3-73A63C7836B6}"/>
              </a:ext>
            </a:extLst>
          </p:cNvPr>
          <p:cNvSpPr txBox="1"/>
          <p:nvPr userDrawn="1"/>
        </p:nvSpPr>
        <p:spPr>
          <a:xfrm>
            <a:off x="7750982" y="5623206"/>
            <a:ext cx="1684759" cy="12347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>
              <a:spcBef>
                <a:spcPts val="0"/>
              </a:spcBef>
              <a:spcAft>
                <a:spcPts val="400"/>
              </a:spcAft>
            </a:pPr>
            <a:endParaRPr lang="en-US" sz="1100" b="0" kern="1200" baseline="0" dirty="0">
              <a:solidFill>
                <a:srgbClr val="00000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CEC6D23-487C-C644-80B7-402FD5BC0903}"/>
              </a:ext>
            </a:extLst>
          </p:cNvPr>
          <p:cNvSpPr txBox="1"/>
          <p:nvPr userDrawn="1"/>
        </p:nvSpPr>
        <p:spPr>
          <a:xfrm>
            <a:off x="3362826" y="6214311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70E02D8-C540-F444-93F5-4F30F95A86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6299" y="2880000"/>
            <a:ext cx="5214751" cy="2275857"/>
          </a:xfrm>
          <a:ln>
            <a:noFill/>
          </a:ln>
        </p:spPr>
        <p:txBody>
          <a:bodyPr anchor="t">
            <a:noAutofit/>
          </a:bodyPr>
          <a:lstStyle>
            <a:lvl1pPr marL="0" indent="0">
              <a:buNone/>
              <a:defRPr sz="2400" b="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Name Surname</a:t>
            </a:r>
          </a:p>
          <a:p>
            <a:pPr lvl="0"/>
            <a:r>
              <a:rPr lang="en-GB" dirty="0" err="1"/>
              <a:t>Email.address@iogp.org</a:t>
            </a:r>
            <a:endParaRPr lang="en-GB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B452282-4286-584D-A1D6-FA7B7FA784C9}"/>
              </a:ext>
            </a:extLst>
          </p:cNvPr>
          <p:cNvSpPr txBox="1"/>
          <p:nvPr userDrawn="1"/>
        </p:nvSpPr>
        <p:spPr>
          <a:xfrm>
            <a:off x="632564" y="5298343"/>
            <a:ext cx="5229617" cy="49244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GB" sz="1600" dirty="0" err="1">
                <a:solidFill>
                  <a:schemeClr val="bg1"/>
                </a:solidFill>
              </a:rPr>
              <a:t>www.iogp.org</a:t>
            </a:r>
            <a:endParaRPr lang="en-GB" sz="1600" dirty="0">
              <a:solidFill>
                <a:schemeClr val="bg1"/>
              </a:solidFill>
            </a:endParaRPr>
          </a:p>
          <a:p>
            <a:r>
              <a:rPr lang="en-GB" sz="1600" dirty="0" err="1">
                <a:solidFill>
                  <a:schemeClr val="bg1"/>
                </a:solidFill>
              </a:rPr>
              <a:t>www.iogpeurope.org</a:t>
            </a:r>
            <a:endParaRPr lang="en-GB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77607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_Gree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5D896FC-9D2A-364C-A02B-CC2FDE7D32D8}"/>
              </a:ext>
            </a:extLst>
          </p:cNvPr>
          <p:cNvSpPr/>
          <p:nvPr userDrawn="1"/>
        </p:nvSpPr>
        <p:spPr>
          <a:xfrm>
            <a:off x="0" y="0"/>
            <a:ext cx="12192000" cy="1224116"/>
          </a:xfrm>
          <a:prstGeom prst="rect">
            <a:avLst/>
          </a:prstGeom>
          <a:solidFill>
            <a:srgbClr val="1798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B7E3F2F-25D1-3249-A86D-81B5F6E530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720975" y="310119"/>
            <a:ext cx="6572250" cy="628650"/>
          </a:xfrm>
          <a:prstGeom prst="rect">
            <a:avLst/>
          </a:prstGeom>
        </p:spPr>
        <p:txBody>
          <a:bodyPr lIns="0" anchor="ctr" anchorCtr="0"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Univers for BP Light" panose="020B0403020202020204" pitchFamily="34" charset="0"/>
              </a:defRPr>
            </a:lvl1pPr>
          </a:lstStyle>
          <a:p>
            <a:pPr lvl="0"/>
            <a:r>
              <a:rPr lang="en-GB" dirty="0"/>
              <a:t>Title goes here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CBC484D-9871-D34A-9DE9-66A860E7F864}"/>
              </a:ext>
            </a:extLst>
          </p:cNvPr>
          <p:cNvSpPr/>
          <p:nvPr userDrawn="1"/>
        </p:nvSpPr>
        <p:spPr>
          <a:xfrm>
            <a:off x="516154" y="4014133"/>
            <a:ext cx="5578290" cy="574395"/>
          </a:xfrm>
          <a:prstGeom prst="rect">
            <a:avLst/>
          </a:prstGeom>
          <a:solidFill>
            <a:srgbClr val="199745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tlCol="0" anchor="ctr"/>
          <a:lstStyle/>
          <a:p>
            <a:r>
              <a:rPr lang="en-US" sz="2400" dirty="0"/>
              <a:t>Who?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2829338-671D-1C4E-97D4-957476140794}"/>
              </a:ext>
            </a:extLst>
          </p:cNvPr>
          <p:cNvSpPr/>
          <p:nvPr userDrawn="1"/>
        </p:nvSpPr>
        <p:spPr>
          <a:xfrm>
            <a:off x="6097556" y="4014133"/>
            <a:ext cx="5578290" cy="574395"/>
          </a:xfrm>
          <a:prstGeom prst="rect">
            <a:avLst/>
          </a:prstGeom>
          <a:solidFill>
            <a:srgbClr val="199745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tlCol="0" anchor="ctr"/>
          <a:lstStyle/>
          <a:p>
            <a:r>
              <a:rPr lang="en-US" sz="2400" dirty="0"/>
              <a:t>	   Why?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5BB3386-1088-A049-9D60-A91468E29DA5}"/>
              </a:ext>
            </a:extLst>
          </p:cNvPr>
          <p:cNvGrpSpPr/>
          <p:nvPr userDrawn="1"/>
        </p:nvGrpSpPr>
        <p:grpSpPr>
          <a:xfrm>
            <a:off x="516154" y="1583460"/>
            <a:ext cx="11159692" cy="2446300"/>
            <a:chOff x="402289" y="1551288"/>
            <a:chExt cx="11159692" cy="2446300"/>
          </a:xfrm>
          <a:noFill/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548B0EC-A34F-0945-A9FD-44334610CE7A}"/>
                </a:ext>
              </a:extLst>
            </p:cNvPr>
            <p:cNvSpPr/>
            <p:nvPr/>
          </p:nvSpPr>
          <p:spPr>
            <a:xfrm>
              <a:off x="402289" y="1551288"/>
              <a:ext cx="5578290" cy="2446300"/>
            </a:xfrm>
            <a:prstGeom prst="rect">
              <a:avLst/>
            </a:prstGeom>
            <a:grpFill/>
            <a:ln w="25400">
              <a:solidFill>
                <a:srgbClr val="19974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7B605A2-98ED-774E-BB09-62796AD8B50F}"/>
                </a:ext>
              </a:extLst>
            </p:cNvPr>
            <p:cNvSpPr/>
            <p:nvPr/>
          </p:nvSpPr>
          <p:spPr>
            <a:xfrm>
              <a:off x="5983691" y="1551288"/>
              <a:ext cx="5578290" cy="2446300"/>
            </a:xfrm>
            <a:prstGeom prst="rect">
              <a:avLst/>
            </a:prstGeom>
            <a:grpFill/>
            <a:ln w="25400">
              <a:solidFill>
                <a:srgbClr val="19974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A38D8863-75F4-3640-B4F9-9FE0B4B48FA8}"/>
              </a:ext>
            </a:extLst>
          </p:cNvPr>
          <p:cNvGrpSpPr/>
          <p:nvPr userDrawn="1"/>
        </p:nvGrpSpPr>
        <p:grpSpPr>
          <a:xfrm>
            <a:off x="516154" y="4029777"/>
            <a:ext cx="11159692" cy="2446300"/>
            <a:chOff x="402289" y="1551288"/>
            <a:chExt cx="11159692" cy="2446300"/>
          </a:xfrm>
          <a:noFill/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F6AFEC15-F59B-E041-AD24-111A5C1DD236}"/>
                </a:ext>
              </a:extLst>
            </p:cNvPr>
            <p:cNvSpPr/>
            <p:nvPr/>
          </p:nvSpPr>
          <p:spPr>
            <a:xfrm>
              <a:off x="402289" y="1551288"/>
              <a:ext cx="5578290" cy="2446300"/>
            </a:xfrm>
            <a:prstGeom prst="rect">
              <a:avLst/>
            </a:prstGeom>
            <a:grpFill/>
            <a:ln w="25400">
              <a:solidFill>
                <a:srgbClr val="19974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435486C1-2838-6F4C-86E9-C7A84CF22E85}"/>
                </a:ext>
              </a:extLst>
            </p:cNvPr>
            <p:cNvSpPr/>
            <p:nvPr/>
          </p:nvSpPr>
          <p:spPr>
            <a:xfrm>
              <a:off x="5983691" y="1551288"/>
              <a:ext cx="5578290" cy="2446300"/>
            </a:xfrm>
            <a:prstGeom prst="rect">
              <a:avLst/>
            </a:prstGeom>
            <a:grpFill/>
            <a:ln w="25400">
              <a:solidFill>
                <a:srgbClr val="19974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2A379DE6-D81B-684D-B94B-ED7ACDFF32A2}"/>
              </a:ext>
            </a:extLst>
          </p:cNvPr>
          <p:cNvSpPr/>
          <p:nvPr userDrawn="1"/>
        </p:nvSpPr>
        <p:spPr>
          <a:xfrm>
            <a:off x="516154" y="1591566"/>
            <a:ext cx="5578290" cy="574395"/>
          </a:xfrm>
          <a:prstGeom prst="rect">
            <a:avLst/>
          </a:prstGeom>
          <a:solidFill>
            <a:srgbClr val="199745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tlCol="0" anchor="ctr"/>
          <a:lstStyle/>
          <a:p>
            <a:r>
              <a:rPr lang="en-US" sz="2400" dirty="0"/>
              <a:t>What?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2E24BE2-0BBA-264F-971A-2D6615532E91}"/>
              </a:ext>
            </a:extLst>
          </p:cNvPr>
          <p:cNvSpPr/>
          <p:nvPr userDrawn="1"/>
        </p:nvSpPr>
        <p:spPr>
          <a:xfrm>
            <a:off x="6097556" y="1591566"/>
            <a:ext cx="5578290" cy="574395"/>
          </a:xfrm>
          <a:prstGeom prst="rect">
            <a:avLst/>
          </a:prstGeom>
          <a:solidFill>
            <a:srgbClr val="199745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tlCol="0" anchor="ctr"/>
          <a:lstStyle/>
          <a:p>
            <a:r>
              <a:rPr lang="en-US" sz="2400" dirty="0"/>
              <a:t>How?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1ABD3788-0CE5-A245-9A88-0945EFCA53DE}"/>
              </a:ext>
            </a:extLst>
          </p:cNvPr>
          <p:cNvCxnSpPr>
            <a:cxnSpLocks/>
          </p:cNvCxnSpPr>
          <p:nvPr userDrawn="1"/>
        </p:nvCxnSpPr>
        <p:spPr>
          <a:xfrm>
            <a:off x="6084626" y="1583115"/>
            <a:ext cx="9818" cy="570971"/>
          </a:xfrm>
          <a:prstGeom prst="line">
            <a:avLst/>
          </a:prstGeom>
          <a:ln w="222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463BAE6-0E42-584B-B880-3DAD1F2AA4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6328" y="2584047"/>
            <a:ext cx="4691433" cy="1292979"/>
          </a:xfrm>
        </p:spPr>
        <p:txBody>
          <a:bodyPr/>
          <a:lstStyle>
            <a:lvl1pPr>
              <a:defRPr sz="1200"/>
            </a:lvl1pPr>
            <a:lvl2pPr>
              <a:buClr>
                <a:srgbClr val="199745"/>
              </a:buClr>
              <a:defRPr sz="1200"/>
            </a:lvl2pPr>
            <a:lvl3pPr>
              <a:buClr>
                <a:srgbClr val="199745"/>
              </a:buClr>
              <a:defRPr sz="1200"/>
            </a:lvl3pPr>
            <a:lvl4pPr>
              <a:buClr>
                <a:srgbClr val="199745"/>
              </a:buClr>
              <a:defRPr sz="1200"/>
            </a:lvl4pPr>
            <a:lvl5pPr>
              <a:buClr>
                <a:srgbClr val="199745"/>
              </a:buClr>
              <a:defRPr sz="1200"/>
            </a:lvl5pPr>
          </a:lstStyle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A9D6BB2A-25D8-0F4F-8047-2D79939B5E9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44618" y="2578862"/>
            <a:ext cx="5085916" cy="1354967"/>
          </a:xfrm>
        </p:spPr>
        <p:txBody>
          <a:bodyPr/>
          <a:lstStyle>
            <a:lvl1pPr algn="l"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buClr>
                <a:srgbClr val="199745"/>
              </a:buClr>
              <a:defRPr sz="1200"/>
            </a:lvl2pPr>
            <a:lvl3pPr algn="l">
              <a:buClr>
                <a:srgbClr val="199745"/>
              </a:buClr>
              <a:defRPr sz="1200"/>
            </a:lvl3pPr>
            <a:lvl4pPr algn="l">
              <a:buClr>
                <a:srgbClr val="199745"/>
              </a:buClr>
              <a:defRPr sz="1200"/>
            </a:lvl4pPr>
            <a:lvl5pPr algn="l">
              <a:buClr>
                <a:srgbClr val="199745"/>
              </a:buClr>
              <a:defRPr sz="1200"/>
            </a:lvl5pPr>
          </a:lstStyle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F5C85CA4-7959-7C4D-8AE0-7C7C5B722E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6328" y="5000806"/>
            <a:ext cx="4691433" cy="131067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buClr>
                <a:srgbClr val="199745"/>
              </a:buClr>
              <a:defRPr sz="1200"/>
            </a:lvl2pPr>
            <a:lvl3pPr>
              <a:buClr>
                <a:srgbClr val="199745"/>
              </a:buClr>
              <a:defRPr sz="1200"/>
            </a:lvl3pPr>
            <a:lvl4pPr>
              <a:buClr>
                <a:srgbClr val="199745"/>
              </a:buClr>
              <a:defRPr sz="1200"/>
            </a:lvl4pPr>
            <a:lvl5pPr>
              <a:buClr>
                <a:srgbClr val="199745"/>
              </a:buClr>
              <a:defRPr sz="1200"/>
            </a:lvl5pPr>
          </a:lstStyle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75D6FD2B-317B-6A4D-A98B-2C47772282A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56400" y="5027993"/>
            <a:ext cx="4674134" cy="132604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29A03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  <a:lvl2pPr>
              <a:buClr>
                <a:srgbClr val="199745"/>
              </a:buClr>
              <a:defRPr sz="1200"/>
            </a:lvl2pPr>
            <a:lvl3pPr>
              <a:buClr>
                <a:srgbClr val="199745"/>
              </a:buClr>
              <a:defRPr sz="1200"/>
            </a:lvl3pPr>
            <a:lvl4pPr>
              <a:buClr>
                <a:srgbClr val="029A03"/>
              </a:buClr>
              <a:defRPr sz="1200"/>
            </a:lvl4pPr>
            <a:lvl5pPr>
              <a:buClr>
                <a:srgbClr val="029A03"/>
              </a:buClr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	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1F3DD11F-6050-7B45-A0CC-F42C710A36F3}"/>
              </a:ext>
            </a:extLst>
          </p:cNvPr>
          <p:cNvSpPr/>
          <p:nvPr userDrawn="1"/>
        </p:nvSpPr>
        <p:spPr>
          <a:xfrm>
            <a:off x="4867247" y="2946637"/>
            <a:ext cx="2444575" cy="2444575"/>
          </a:xfrm>
          <a:prstGeom prst="ellipse">
            <a:avLst/>
          </a:prstGeom>
          <a:solidFill>
            <a:srgbClr val="199745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bIns="0" rtlCol="0" anchor="t" anchorCtr="0"/>
          <a:lstStyle/>
          <a:p>
            <a:pPr lvl="0" algn="ctr"/>
            <a:r>
              <a:rPr lang="en-GB" sz="2400" b="1" dirty="0">
                <a:solidFill>
                  <a:schemeClr val="bg1"/>
                </a:solidFill>
                <a:latin typeface="Univers for BP" panose="020B0603020202020204" pitchFamily="34" charset="0"/>
                <a:ea typeface="+mj-ea"/>
                <a:cs typeface="+mj-cs"/>
              </a:rPr>
              <a:t>Our team purpose</a:t>
            </a:r>
            <a:endParaRPr lang="en-GB" sz="1050" i="1" dirty="0">
              <a:solidFill>
                <a:schemeClr val="bg1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765258-4707-5349-98F8-485B9E6496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45869" y="4313934"/>
            <a:ext cx="2100262" cy="952500"/>
          </a:xfrm>
        </p:spPr>
        <p:txBody>
          <a:bodyPr/>
          <a:lstStyle>
            <a:lvl1pPr algn="ctr">
              <a:defRPr sz="1200">
                <a:solidFill>
                  <a:schemeClr val="bg1"/>
                </a:solidFill>
              </a:defRPr>
            </a:lvl1pPr>
            <a:lvl2pPr algn="ctr">
              <a:defRPr sz="1200">
                <a:solidFill>
                  <a:schemeClr val="bg1"/>
                </a:solidFill>
              </a:defRPr>
            </a:lvl2pPr>
            <a:lvl3pPr algn="ctr">
              <a:defRPr sz="1200">
                <a:solidFill>
                  <a:schemeClr val="bg1"/>
                </a:solidFill>
              </a:defRPr>
            </a:lvl3pPr>
            <a:lvl4pPr algn="ctr">
              <a:defRPr sz="1200">
                <a:solidFill>
                  <a:schemeClr val="bg1"/>
                </a:solidFill>
              </a:defRPr>
            </a:lvl4pPr>
            <a:lvl5pPr algn="ctr"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Add statement here</a:t>
            </a:r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D44D2B-E2CE-AD4E-BF35-7FB16CCAC0F6}"/>
              </a:ext>
            </a:extLst>
          </p:cNvPr>
          <p:cNvSpPr/>
          <p:nvPr userDrawn="1"/>
        </p:nvSpPr>
        <p:spPr>
          <a:xfrm>
            <a:off x="668121" y="2237392"/>
            <a:ext cx="5416505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GB" sz="1300" dirty="0">
                <a:solidFill>
                  <a:srgbClr val="029A03"/>
                </a:solidFill>
              </a:rPr>
              <a:t>What do we do? What do we produce? What service do we provide?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05DFB49-F0AE-B647-BA23-ED38F97D4DE2}"/>
              </a:ext>
            </a:extLst>
          </p:cNvPr>
          <p:cNvSpPr/>
          <p:nvPr userDrawn="1"/>
        </p:nvSpPr>
        <p:spPr>
          <a:xfrm>
            <a:off x="681845" y="4656344"/>
            <a:ext cx="5416505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GB" sz="1300" dirty="0">
                <a:solidFill>
                  <a:srgbClr val="029A03"/>
                </a:solidFill>
              </a:rPr>
              <a:t>Who are we doing it for?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8A527D1-499C-314C-82C6-DFD037DEDC5A}"/>
              </a:ext>
            </a:extLst>
          </p:cNvPr>
          <p:cNvSpPr/>
          <p:nvPr userDrawn="1"/>
        </p:nvSpPr>
        <p:spPr>
          <a:xfrm>
            <a:off x="6256121" y="2237392"/>
            <a:ext cx="5416505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GB" sz="1300" dirty="0">
                <a:solidFill>
                  <a:srgbClr val="029A03"/>
                </a:solidFill>
              </a:rPr>
              <a:t>How do we deliver our outcome? What do we value?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D1175A2-E152-CD4F-99E0-C4154B94B315}"/>
              </a:ext>
            </a:extLst>
          </p:cNvPr>
          <p:cNvSpPr/>
          <p:nvPr userDrawn="1"/>
        </p:nvSpPr>
        <p:spPr>
          <a:xfrm>
            <a:off x="7326485" y="4656344"/>
            <a:ext cx="2609995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GB" sz="1300" dirty="0">
                <a:solidFill>
                  <a:srgbClr val="029A03"/>
                </a:solidFill>
              </a:rPr>
              <a:t>Why are we doing what we do?</a:t>
            </a:r>
          </a:p>
        </p:txBody>
      </p:sp>
    </p:spTree>
    <p:extLst>
      <p:ext uri="{BB962C8B-B14F-4D97-AF65-F5344CB8AC3E}">
        <p14:creationId xmlns:p14="http://schemas.microsoft.com/office/powerpoint/2010/main" val="4305236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" hidden="1">
            <a:extLst>
              <a:ext uri="{FF2B5EF4-FFF2-40B4-BE49-F238E27FC236}">
                <a16:creationId xmlns:a16="http://schemas.microsoft.com/office/drawing/2014/main" id="{159727A0-EB7E-46AB-9AD4-271048824C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7" hidden="1">
                        <a:extLst>
                          <a:ext uri="{FF2B5EF4-FFF2-40B4-BE49-F238E27FC236}">
                            <a16:creationId xmlns:a16="http://schemas.microsoft.com/office/drawing/2014/main" id="{159727A0-EB7E-46AB-9AD4-271048824C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5E0E624-22CA-43D4-99D2-E71068F8FD9D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300" b="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Univers for BP" panose="020B0603020202020204" pitchFamily="34" charset="0"/>
              <a:ea typeface="+mj-ea"/>
              <a:cs typeface="Arial" pitchFamily="34" charset="0"/>
              <a:sym typeface="Univers for BP" panose="020B0603020202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457A8B7-2E0B-49A6-8424-5D0CDD05A5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4226" y="228702"/>
            <a:ext cx="11663550" cy="886652"/>
          </a:xfrm>
        </p:spPr>
        <p:txBody>
          <a:bodyPr lIns="0" tIns="0" rIns="0" bIns="0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EFC560A9-4615-46E6-B463-421FFF3EA812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5942"/>
            <a:ext cx="325501" cy="141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1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5112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106965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765912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0038" y="540000"/>
            <a:ext cx="11593600" cy="908365"/>
          </a:xfrm>
          <a:prstGeom prst="rect">
            <a:avLst/>
          </a:prstGeom>
        </p:spPr>
        <p:txBody>
          <a:bodyPr vert="horz" lIns="0" tIns="45720" rIns="9144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0038" y="1809483"/>
            <a:ext cx="11593600" cy="4319855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035360A-5D9B-5146-839C-0BAFBAD43D2A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8187" y="6289631"/>
            <a:ext cx="1202532" cy="410196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01A0682-92F4-3748-9DA3-885EFC0B0F4B}"/>
              </a:ext>
            </a:extLst>
          </p:cNvPr>
          <p:cNvCxnSpPr>
            <a:cxnSpLocks/>
          </p:cNvCxnSpPr>
          <p:nvPr userDrawn="1"/>
        </p:nvCxnSpPr>
        <p:spPr>
          <a:xfrm>
            <a:off x="300038" y="1539433"/>
            <a:ext cx="11593600" cy="0"/>
          </a:xfrm>
          <a:prstGeom prst="line">
            <a:avLst/>
          </a:prstGeom>
          <a:ln w="254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D4A788CC-0FAC-EE4E-BEE0-5ECE1726E97C}"/>
              </a:ext>
            </a:extLst>
          </p:cNvPr>
          <p:cNvSpPr txBox="1"/>
          <p:nvPr userDrawn="1"/>
        </p:nvSpPr>
        <p:spPr>
          <a:xfrm>
            <a:off x="300038" y="6318000"/>
            <a:ext cx="646497" cy="276999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fld id="{58393CF3-8A1F-4226-A1CE-4BD287B2BADA}" type="slidenum">
              <a:rPr lang="en-GB" sz="1200" smtClean="0">
                <a:solidFill>
                  <a:schemeClr val="tx2">
                    <a:lumMod val="75000"/>
                  </a:schemeClr>
                </a:solidFill>
              </a:rPr>
              <a:t>‹#›</a:t>
            </a:fld>
            <a:endParaRPr lang="en-GB" sz="12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2873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3" r:id="rId3"/>
    <p:sldLayoutId id="2147483680" r:id="rId4"/>
    <p:sldLayoutId id="2147483679" r:id="rId5"/>
    <p:sldLayoutId id="2147483681" r:id="rId6"/>
    <p:sldLayoutId id="2147483684" r:id="rId7"/>
    <p:sldLayoutId id="2147483686" r:id="rId8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110000"/>
        </a:lnSpc>
        <a:spcBef>
          <a:spcPts val="75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110000"/>
        </a:lnSpc>
        <a:spcBef>
          <a:spcPts val="375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110000"/>
        </a:lnSpc>
        <a:spcBef>
          <a:spcPts val="375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11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11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300" userDrawn="1">
          <p15:clr>
            <a:srgbClr val="F26B43"/>
          </p15:clr>
        </p15:guide>
        <p15:guide id="2" pos="1413" userDrawn="1">
          <p15:clr>
            <a:srgbClr val="F26B43"/>
          </p15:clr>
        </p15:guide>
        <p15:guide id="3" orient="horz" pos="1139" userDrawn="1">
          <p15:clr>
            <a:srgbClr val="F26B43"/>
          </p15:clr>
        </p15:guide>
        <p15:guide id="4" pos="2547" userDrawn="1">
          <p15:clr>
            <a:srgbClr val="F26B43"/>
          </p15:clr>
        </p15:guide>
        <p15:guide id="5" pos="2661" userDrawn="1">
          <p15:clr>
            <a:srgbClr val="F26B43"/>
          </p15:clr>
        </p15:guide>
        <p15:guide id="6" pos="3772" userDrawn="1">
          <p15:clr>
            <a:srgbClr val="F26B43"/>
          </p15:clr>
        </p15:guide>
        <p15:guide id="7" pos="3885" userDrawn="1">
          <p15:clr>
            <a:srgbClr val="F26B43"/>
          </p15:clr>
        </p15:guide>
        <p15:guide id="8" pos="5019" userDrawn="1">
          <p15:clr>
            <a:srgbClr val="F26B43"/>
          </p15:clr>
        </p15:guide>
        <p15:guide id="9" pos="5133" userDrawn="1">
          <p15:clr>
            <a:srgbClr val="F26B43"/>
          </p15:clr>
        </p15:guide>
        <p15:guide id="10" pos="6267" userDrawn="1">
          <p15:clr>
            <a:srgbClr val="F26B43"/>
          </p15:clr>
        </p15:guide>
        <p15:guide id="11" pos="6380" userDrawn="1">
          <p15:clr>
            <a:srgbClr val="F26B43"/>
          </p15:clr>
        </p15:guide>
        <p15:guide id="12" pos="7491" userDrawn="1">
          <p15:clr>
            <a:srgbClr val="F26B43"/>
          </p15:clr>
        </p15:guide>
        <p15:guide id="13" orient="horz" pos="2432" userDrawn="1">
          <p15:clr>
            <a:srgbClr val="F26B43"/>
          </p15:clr>
        </p15:guide>
        <p15:guide id="14" orient="horz" pos="2546" userDrawn="1">
          <p15:clr>
            <a:srgbClr val="F26B43"/>
          </p15:clr>
        </p15:guide>
        <p15:guide id="15" orient="horz" pos="3861" userDrawn="1">
          <p15:clr>
            <a:srgbClr val="F26B43"/>
          </p15:clr>
        </p15:guide>
        <p15:guide id="16" pos="18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0038" y="540000"/>
            <a:ext cx="11593600" cy="5589338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035360A-5D9B-5146-839C-0BAFBAD43D2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8187" y="6289631"/>
            <a:ext cx="1202532" cy="41019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4A788CC-0FAC-EE4E-BEE0-5ECE1726E97C}"/>
              </a:ext>
            </a:extLst>
          </p:cNvPr>
          <p:cNvSpPr txBox="1"/>
          <p:nvPr userDrawn="1"/>
        </p:nvSpPr>
        <p:spPr>
          <a:xfrm>
            <a:off x="300038" y="6318000"/>
            <a:ext cx="646497" cy="276999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fld id="{58393CF3-8A1F-4226-A1CE-4BD287B2BADA}" type="slidenum">
              <a:rPr lang="en-GB" sz="1200" smtClean="0">
                <a:solidFill>
                  <a:schemeClr val="tx2">
                    <a:lumMod val="75000"/>
                  </a:schemeClr>
                </a:solidFill>
              </a:rPr>
              <a:t>‹#›</a:t>
            </a:fld>
            <a:endParaRPr lang="en-GB" sz="12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1602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8" r:id="rId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110000"/>
        </a:lnSpc>
        <a:spcBef>
          <a:spcPts val="75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110000"/>
        </a:lnSpc>
        <a:spcBef>
          <a:spcPts val="375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110000"/>
        </a:lnSpc>
        <a:spcBef>
          <a:spcPts val="375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11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11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300">
          <p15:clr>
            <a:srgbClr val="F26B43"/>
          </p15:clr>
        </p15:guide>
        <p15:guide id="2" pos="1413">
          <p15:clr>
            <a:srgbClr val="F26B43"/>
          </p15:clr>
        </p15:guide>
        <p15:guide id="3" orient="horz" pos="1139">
          <p15:clr>
            <a:srgbClr val="F26B43"/>
          </p15:clr>
        </p15:guide>
        <p15:guide id="4" pos="2547">
          <p15:clr>
            <a:srgbClr val="F26B43"/>
          </p15:clr>
        </p15:guide>
        <p15:guide id="5" pos="2661">
          <p15:clr>
            <a:srgbClr val="F26B43"/>
          </p15:clr>
        </p15:guide>
        <p15:guide id="6" pos="3772">
          <p15:clr>
            <a:srgbClr val="F26B43"/>
          </p15:clr>
        </p15:guide>
        <p15:guide id="7" pos="3885">
          <p15:clr>
            <a:srgbClr val="F26B43"/>
          </p15:clr>
        </p15:guide>
        <p15:guide id="8" pos="5019">
          <p15:clr>
            <a:srgbClr val="F26B43"/>
          </p15:clr>
        </p15:guide>
        <p15:guide id="9" pos="5133">
          <p15:clr>
            <a:srgbClr val="F26B43"/>
          </p15:clr>
        </p15:guide>
        <p15:guide id="10" pos="6267">
          <p15:clr>
            <a:srgbClr val="F26B43"/>
          </p15:clr>
        </p15:guide>
        <p15:guide id="11" pos="6380">
          <p15:clr>
            <a:srgbClr val="F26B43"/>
          </p15:clr>
        </p15:guide>
        <p15:guide id="12" pos="7491">
          <p15:clr>
            <a:srgbClr val="F26B43"/>
          </p15:clr>
        </p15:guide>
        <p15:guide id="13" orient="horz" pos="2432">
          <p15:clr>
            <a:srgbClr val="F26B43"/>
          </p15:clr>
        </p15:guide>
        <p15:guide id="14" orient="horz" pos="2546">
          <p15:clr>
            <a:srgbClr val="F26B43"/>
          </p15:clr>
        </p15:guide>
        <p15:guide id="15" orient="horz" pos="3861">
          <p15:clr>
            <a:srgbClr val="F26B43"/>
          </p15:clr>
        </p15:guide>
        <p15:guide id="16" pos="18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B94FC140-BA2F-F841-9EF8-597D8E366441}"/>
              </a:ext>
            </a:extLst>
          </p:cNvPr>
          <p:cNvPicPr>
            <a:picLocks noGrp="1"/>
          </p:cNvPicPr>
          <p:nvPr>
            <p:ph type="pic" sz="quarter" idx="10"/>
          </p:nvPr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88049" y="1808162"/>
            <a:ext cx="5910828" cy="4320000"/>
          </a:xfr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C80D3F6-80B0-D846-B109-BDB3A5C9FA2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00038" y="1808162"/>
            <a:ext cx="6208319" cy="4321175"/>
          </a:xfrm>
          <a:solidFill>
            <a:schemeClr val="accent2"/>
          </a:solidFill>
          <a:ln>
            <a:noFill/>
          </a:ln>
        </p:spPr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9CA2445F-F00A-8647-B719-93426FA6FD1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r>
              <a:rPr lang="en-GB" sz="1800" dirty="0"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David Fargie, bp; </a:t>
            </a:r>
            <a:r>
              <a:rPr lang="en-GB" sz="1800" dirty="0">
                <a:effectLst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Kirsty Walker, Schlumberger; Wendy Poore, IOGP, Olav Skar, IOGP</a:t>
            </a:r>
            <a:endParaRPr lang="en-US" sz="1800" dirty="0">
              <a:effectLst/>
              <a:latin typeface="+mj-lt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r>
              <a:rPr lang="en-GB" dirty="0" err="1"/>
              <a:t>IChemE</a:t>
            </a:r>
            <a:r>
              <a:rPr lang="en-GB" dirty="0"/>
              <a:t> Hazards32 </a:t>
            </a:r>
          </a:p>
          <a:p>
            <a:r>
              <a:rPr lang="en-GB" sz="1800" dirty="0"/>
              <a:t>18-20 October 2022</a:t>
            </a:r>
          </a:p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22ED50F-389F-5043-8225-8B01CDB9BB4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0" marR="0">
              <a:spcBef>
                <a:spcPts val="600"/>
              </a:spcBef>
              <a:spcAft>
                <a:spcPts val="600"/>
              </a:spcAft>
            </a:pPr>
            <a:r>
              <a:rPr lang="en-GB" sz="2800" dirty="0">
                <a:solidFill>
                  <a:schemeClr val="bg2"/>
                </a:solidFill>
                <a:latin typeface="+mn-lt"/>
              </a:rPr>
              <a:t>Learning from Global Upstream Process Safety Event Data</a:t>
            </a:r>
            <a:endParaRPr lang="en-US" sz="2800" dirty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324453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84F478-B505-7D5C-170A-3EC8FDCB6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Keyword Analysis – Outside Operating Envelop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E244BE6-711E-9C7C-BD4A-301F447AD199}"/>
              </a:ext>
            </a:extLst>
          </p:cNvPr>
          <p:cNvSpPr txBox="1"/>
          <p:nvPr/>
        </p:nvSpPr>
        <p:spPr>
          <a:xfrm>
            <a:off x="300038" y="1865352"/>
            <a:ext cx="42092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Tier 1 PSE outside operating envelope key word assignments, 2014-2021 combined</a:t>
            </a:r>
            <a:endParaRPr lang="en-US" sz="1400" dirty="0">
              <a:latin typeface="+mj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D8D1F74-84D6-6EA9-E114-9B62EB95D7DF}"/>
              </a:ext>
            </a:extLst>
          </p:cNvPr>
          <p:cNvSpPr txBox="1"/>
          <p:nvPr/>
        </p:nvSpPr>
        <p:spPr>
          <a:xfrm>
            <a:off x="6493783" y="1865351"/>
            <a:ext cx="48636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Number of Tier 1 PSE outside operating envelope key word assignments, 2014-2021 by year</a:t>
            </a:r>
            <a:endParaRPr lang="en-US" sz="1400" dirty="0">
              <a:latin typeface="+mj-lt"/>
            </a:endParaRPr>
          </a:p>
        </p:txBody>
      </p:sp>
      <p:pic>
        <p:nvPicPr>
          <p:cNvPr id="4" name="Picture 3" descr="Chart, pie chart&#10;&#10;Description automatically generated">
            <a:extLst>
              <a:ext uri="{FF2B5EF4-FFF2-40B4-BE49-F238E27FC236}">
                <a16:creationId xmlns:a16="http://schemas.microsoft.com/office/drawing/2014/main" id="{D556A6D4-9943-F229-F8E6-0EEF5775F6D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6656" y="2805559"/>
            <a:ext cx="2718541" cy="2220488"/>
          </a:xfrm>
          <a:prstGeom prst="rect">
            <a:avLst/>
          </a:prstGeom>
        </p:spPr>
      </p:pic>
      <p:pic>
        <p:nvPicPr>
          <p:cNvPr id="5" name="Picture 4" descr="Text&#10;&#10;Description automatically generated with low confidence">
            <a:extLst>
              <a:ext uri="{FF2B5EF4-FFF2-40B4-BE49-F238E27FC236}">
                <a16:creationId xmlns:a16="http://schemas.microsoft.com/office/drawing/2014/main" id="{7D38E620-93A5-BD06-331C-09D1E53B2FC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25197" y="2805559"/>
            <a:ext cx="1992953" cy="2220488"/>
          </a:xfrm>
          <a:prstGeom prst="rect">
            <a:avLst/>
          </a:prstGeom>
        </p:spPr>
      </p:pic>
      <p:pic>
        <p:nvPicPr>
          <p:cNvPr id="6" name="Picture 5" descr="Chart, bar chart&#10;&#10;Description automatically generated">
            <a:extLst>
              <a:ext uri="{FF2B5EF4-FFF2-40B4-BE49-F238E27FC236}">
                <a16:creationId xmlns:a16="http://schemas.microsoft.com/office/drawing/2014/main" id="{A6AA491F-0AD7-D82D-21C7-41EC81087D0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7503" y="2729920"/>
            <a:ext cx="6439936" cy="288891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937741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84F478-B505-7D5C-170A-3EC8FDCB6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Results – Point of Release Analysi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E244BE6-711E-9C7C-BD4A-301F447AD199}"/>
              </a:ext>
            </a:extLst>
          </p:cNvPr>
          <p:cNvSpPr txBox="1"/>
          <p:nvPr/>
        </p:nvSpPr>
        <p:spPr>
          <a:xfrm>
            <a:off x="300038" y="1865352"/>
            <a:ext cx="42092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Tier 1 PSE point of release assignments, 2014-2021 combined</a:t>
            </a:r>
            <a:endParaRPr lang="en-US" sz="1400" dirty="0">
              <a:latin typeface="+mj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D8D1F74-84D6-6EA9-E114-9B62EB95D7DF}"/>
              </a:ext>
            </a:extLst>
          </p:cNvPr>
          <p:cNvSpPr txBox="1"/>
          <p:nvPr/>
        </p:nvSpPr>
        <p:spPr>
          <a:xfrm>
            <a:off x="6758412" y="1865351"/>
            <a:ext cx="437811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>
                <a:latin typeface="+mj-lt"/>
                <a:cs typeface="Arial" panose="020B0604020202020204" pitchFamily="34" charset="0"/>
              </a:rPr>
              <a:t>Number of Tier 1 PSE by point of release category, 2014- 2021 by year</a:t>
            </a:r>
            <a:endParaRPr lang="en-US" sz="1400" dirty="0">
              <a:latin typeface="+mj-lt"/>
              <a:cs typeface="Arial" panose="020B0604020202020204" pitchFamily="34" charset="0"/>
            </a:endParaRPr>
          </a:p>
        </p:txBody>
      </p:sp>
      <p:pic>
        <p:nvPicPr>
          <p:cNvPr id="3" name="Picture 2" descr="Chart, bar chart&#10;&#10;Description automatically generated">
            <a:extLst>
              <a:ext uri="{FF2B5EF4-FFF2-40B4-BE49-F238E27FC236}">
                <a16:creationId xmlns:a16="http://schemas.microsoft.com/office/drawing/2014/main" id="{E416E25C-9C14-F48D-96AC-9F023760BCF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55174" y="2757674"/>
            <a:ext cx="6845707" cy="2766564"/>
          </a:xfrm>
          <a:prstGeom prst="rect">
            <a:avLst/>
          </a:prstGeom>
        </p:spPr>
      </p:pic>
      <p:pic>
        <p:nvPicPr>
          <p:cNvPr id="9" name="Picture 8" descr="Text&#10;&#10;Description automatically generated">
            <a:extLst>
              <a:ext uri="{FF2B5EF4-FFF2-40B4-BE49-F238E27FC236}">
                <a16:creationId xmlns:a16="http://schemas.microsoft.com/office/drawing/2014/main" id="{44079FEC-8CBE-73D3-1276-DDC38BA780A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90529" y="3029749"/>
            <a:ext cx="2071684" cy="2141342"/>
          </a:xfrm>
          <a:prstGeom prst="rect">
            <a:avLst/>
          </a:prstGeom>
        </p:spPr>
      </p:pic>
      <p:pic>
        <p:nvPicPr>
          <p:cNvPr id="10" name="Picture 9" descr="Chart, pie chart&#10;&#10;Description automatically generated">
            <a:extLst>
              <a:ext uri="{FF2B5EF4-FFF2-40B4-BE49-F238E27FC236}">
                <a16:creationId xmlns:a16="http://schemas.microsoft.com/office/drawing/2014/main" id="{9B32F1AE-ED35-2ACA-3207-59EE9B7CD6A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1408" y="3029749"/>
            <a:ext cx="2549807" cy="2087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982939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84F478-B505-7D5C-170A-3EC8FDCB6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Point of Release – Further Analysi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E244BE6-711E-9C7C-BD4A-301F447AD199}"/>
              </a:ext>
            </a:extLst>
          </p:cNvPr>
          <p:cNvSpPr txBox="1"/>
          <p:nvPr/>
        </p:nvSpPr>
        <p:spPr>
          <a:xfrm>
            <a:off x="300038" y="1865352"/>
            <a:ext cx="49551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Tier 1 PSE point of release assignments – piping systems, 2014-2021 combined</a:t>
            </a:r>
            <a:endParaRPr lang="en-US" sz="1400" dirty="0">
              <a:latin typeface="+mj-lt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9FECAAD-3F5F-A015-8E25-3A78AE3B6B4A}"/>
              </a:ext>
            </a:extLst>
          </p:cNvPr>
          <p:cNvSpPr txBox="1"/>
          <p:nvPr/>
        </p:nvSpPr>
        <p:spPr>
          <a:xfrm>
            <a:off x="6329822" y="1865352"/>
            <a:ext cx="49551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Tier 1 PSE point of release assignments – equipment, </a:t>
            </a:r>
          </a:p>
          <a:p>
            <a:pPr algn="ctr"/>
            <a:r>
              <a:rPr lang="en-GB" sz="1400" dirty="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2014-2021 combined</a:t>
            </a:r>
            <a:endParaRPr lang="en-US" sz="1400" dirty="0">
              <a:latin typeface="+mj-lt"/>
            </a:endParaRPr>
          </a:p>
        </p:txBody>
      </p:sp>
      <p:pic>
        <p:nvPicPr>
          <p:cNvPr id="5" name="Picture 4" descr="Chart, pie chart&#10;&#10;Description automatically generated">
            <a:extLst>
              <a:ext uri="{FF2B5EF4-FFF2-40B4-BE49-F238E27FC236}">
                <a16:creationId xmlns:a16="http://schemas.microsoft.com/office/drawing/2014/main" id="{4CFF36D7-5696-4FE6-705C-A2EA30FC39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68066" y="2897496"/>
            <a:ext cx="2883314" cy="2378952"/>
          </a:xfrm>
          <a:prstGeom prst="rect">
            <a:avLst/>
          </a:prstGeom>
        </p:spPr>
      </p:pic>
      <p:pic>
        <p:nvPicPr>
          <p:cNvPr id="6" name="Picture 5" descr="Graphical user interface, text, application, chat or text message&#10;&#10;Description automatically generated">
            <a:extLst>
              <a:ext uri="{FF2B5EF4-FFF2-40B4-BE49-F238E27FC236}">
                <a16:creationId xmlns:a16="http://schemas.microsoft.com/office/drawing/2014/main" id="{F6582A01-3DD6-1759-4DCB-F5A84E89094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61115" y="2954478"/>
            <a:ext cx="1897264" cy="2264988"/>
          </a:xfrm>
          <a:prstGeom prst="rect">
            <a:avLst/>
          </a:prstGeom>
        </p:spPr>
      </p:pic>
      <p:pic>
        <p:nvPicPr>
          <p:cNvPr id="11" name="Picture 10" descr="Graphical user interface, text, application, chat or text message&#10;&#10;Description automatically generated">
            <a:extLst>
              <a:ext uri="{FF2B5EF4-FFF2-40B4-BE49-F238E27FC236}">
                <a16:creationId xmlns:a16="http://schemas.microsoft.com/office/drawing/2014/main" id="{699B6C5D-2BBC-46DC-A2AD-F30F6BFCF3B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80310" y="2976952"/>
            <a:ext cx="2271570" cy="2220041"/>
          </a:xfrm>
          <a:prstGeom prst="rect">
            <a:avLst/>
          </a:prstGeom>
        </p:spPr>
      </p:pic>
      <p:pic>
        <p:nvPicPr>
          <p:cNvPr id="12" name="Picture 11" descr="Chart, pie chart&#10;&#10;Description automatically generated">
            <a:extLst>
              <a:ext uri="{FF2B5EF4-FFF2-40B4-BE49-F238E27FC236}">
                <a16:creationId xmlns:a16="http://schemas.microsoft.com/office/drawing/2014/main" id="{4146F200-2DFA-43D2-B61C-52C90702740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7645" y="2897496"/>
            <a:ext cx="2982821" cy="2378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18268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5BDE8F-11A9-DCF6-9444-5EF441FCD8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/>
              <a:t>PSE Tier 1 Causal Factor and Barrier Analysis 2014-2021</a:t>
            </a:r>
            <a:endParaRPr lang="en-US" sz="28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067346C-FF6C-15B8-BE51-40442754F9F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5937" y="5081085"/>
            <a:ext cx="4641369" cy="1098997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3,038 causal factors assigned to 1,264 of 1446 Tier 1 PSE report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>
                <a:latin typeface="+mj-lt"/>
                <a:cs typeface="Arial" panose="020B0604020202020204" pitchFamily="34" charset="0"/>
              </a:rPr>
              <a:t>79% of these were in the process (conditions) categories and 21% in the people (acts) categories</a:t>
            </a:r>
            <a:endParaRPr lang="en-US" sz="1200" dirty="0">
              <a:latin typeface="+mj-lt"/>
              <a:cs typeface="Arial" panose="020B0604020202020204" pitchFamily="34" charset="0"/>
            </a:endParaRP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86A76E25-FB62-79CD-7234-E86F948C41B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5264350"/>
              </p:ext>
            </p:extLst>
          </p:nvPr>
        </p:nvGraphicFramePr>
        <p:xfrm>
          <a:off x="805937" y="2296217"/>
          <a:ext cx="4589517" cy="259588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4589517">
                  <a:extLst>
                    <a:ext uri="{9D8B030D-6E8A-4147-A177-3AD203B41FA5}">
                      <a16:colId xmlns:a16="http://schemas.microsoft.com/office/drawing/2014/main" val="305649892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Causal Factors reported in the Top 10 every year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586334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350" kern="1200" dirty="0">
                          <a:solidFill>
                            <a:schemeClr val="dk1"/>
                          </a:solidFill>
                          <a:effectLst/>
                        </a:rPr>
                        <a:t>Inadequate/defective tools/equipment/materials/products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466397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350" kern="1200" dirty="0">
                          <a:solidFill>
                            <a:schemeClr val="dk1"/>
                          </a:solidFill>
                          <a:effectLst/>
                        </a:rPr>
                        <a:t>Inadequate maintenance/inspection/testing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92706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350" kern="1200" dirty="0">
                          <a:solidFill>
                            <a:schemeClr val="dk1"/>
                          </a:solidFill>
                          <a:effectLst/>
                        </a:rPr>
                        <a:t>Inadequate design/specification/management of change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12570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350" kern="1200" dirty="0">
                          <a:solidFill>
                            <a:schemeClr val="dk1"/>
                          </a:solidFill>
                          <a:effectLst/>
                        </a:rPr>
                        <a:t>Inadequate hazard identification or risk assessment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83356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350" kern="1200" dirty="0">
                          <a:solidFill>
                            <a:schemeClr val="dk1"/>
                          </a:solidFill>
                          <a:effectLst/>
                        </a:rPr>
                        <a:t>Inadequate work standards/procedures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602695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350" kern="1200" dirty="0">
                          <a:solidFill>
                            <a:schemeClr val="dk1"/>
                          </a:solidFill>
                          <a:effectLst/>
                        </a:rPr>
                        <a:t>Inadequate training/competence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9363394"/>
                  </a:ext>
                </a:extLst>
              </a:tr>
            </a:tbl>
          </a:graphicData>
        </a:graphic>
      </p:graphicFrame>
      <p:graphicFrame>
        <p:nvGraphicFramePr>
          <p:cNvPr id="12" name="Table 12">
            <a:extLst>
              <a:ext uri="{FF2B5EF4-FFF2-40B4-BE49-F238E27FC236}">
                <a16:creationId xmlns:a16="http://schemas.microsoft.com/office/drawing/2014/main" id="{7CC76710-343E-C6E7-420C-7C8EAFF086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7865922"/>
              </p:ext>
            </p:extLst>
          </p:nvPr>
        </p:nvGraphicFramePr>
        <p:xfrm>
          <a:off x="6072877" y="2296217"/>
          <a:ext cx="5125545" cy="367538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5125545">
                  <a:extLst>
                    <a:ext uri="{9D8B030D-6E8A-4147-A177-3AD203B41FA5}">
                      <a16:colId xmlns:a16="http://schemas.microsoft.com/office/drawing/2014/main" val="249748221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Barrier failures reported in the Top 10 every year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28994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/>
                      <a:r>
                        <a:rPr lang="en-US" sz="135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cess Containm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294903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/>
                      <a:r>
                        <a:rPr lang="en-US" sz="135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set design and integrit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3620975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/>
                      <a:r>
                        <a:rPr lang="en-US" sz="135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perating in accordance with procedures – PTW, Isolation of equipment, Overrides and inhibits of safety systems, Shift handover, etc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396609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/>
                      <a:r>
                        <a:rPr lang="en-US" sz="135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isk assessment and contro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94994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/>
                      <a:r>
                        <a:rPr lang="en-US" sz="135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ructural Integrit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779846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/>
                      <a:r>
                        <a:rPr lang="en-US" sz="135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rveillance, operator rounds and routine inspe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05262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/>
                      <a:r>
                        <a:rPr lang="en-US" sz="135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lans and procedur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91282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5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ecution of activiti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5573201"/>
                  </a:ext>
                </a:extLst>
              </a:tr>
            </a:tbl>
          </a:graphicData>
        </a:graphic>
      </p:graphicFrame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936142E-F1E7-9610-7634-0D5F71C1CDF8}"/>
              </a:ext>
            </a:extLst>
          </p:cNvPr>
          <p:cNvSpPr txBox="1">
            <a:spLocks/>
          </p:cNvSpPr>
          <p:nvPr/>
        </p:nvSpPr>
        <p:spPr>
          <a:xfrm>
            <a:off x="6096000" y="6060169"/>
            <a:ext cx="4641369" cy="706484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750"/>
              </a:spcBef>
              <a:buFont typeface="Arial"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110000"/>
              </a:lnSpc>
              <a:spcBef>
                <a:spcPts val="375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10000"/>
              </a:lnSpc>
              <a:spcBef>
                <a:spcPts val="375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1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10000"/>
              </a:lnSpc>
              <a:spcBef>
                <a:spcPts val="375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Reference IOGP Report No. 544 for full list of Barriers</a:t>
            </a:r>
            <a:endParaRPr lang="en-US" sz="1200" dirty="0"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28888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E920F8-D055-D902-2C0C-BF051186F9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/>
              <a:t>Development of Process Safety Fundamentals</a:t>
            </a:r>
            <a:endParaRPr lang="en-US" sz="2800" dirty="0"/>
          </a:p>
        </p:txBody>
      </p:sp>
      <p:pic>
        <p:nvPicPr>
          <p:cNvPr id="4" name="Picture 3" descr="Chart, bar chart&#10;&#10;Description automatically generated">
            <a:extLst>
              <a:ext uri="{FF2B5EF4-FFF2-40B4-BE49-F238E27FC236}">
                <a16:creationId xmlns:a16="http://schemas.microsoft.com/office/drawing/2014/main" id="{9410D371-F07C-1B48-0B43-91DB56AF6D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5300" y="1830135"/>
            <a:ext cx="5970142" cy="3340955"/>
          </a:xfrm>
          <a:prstGeom prst="rect">
            <a:avLst/>
          </a:prstGeom>
        </p:spPr>
      </p:pic>
      <p:pic>
        <p:nvPicPr>
          <p:cNvPr id="5" name="Picture 4" descr="A picture containing logo&#10;&#10;Description automatically generated">
            <a:extLst>
              <a:ext uri="{FF2B5EF4-FFF2-40B4-BE49-F238E27FC236}">
                <a16:creationId xmlns:a16="http://schemas.microsoft.com/office/drawing/2014/main" id="{3308C011-B00A-E0C5-FF6D-92FF300B6ED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64826" y="1830135"/>
            <a:ext cx="5196381" cy="2531910"/>
          </a:xfrm>
          <a:prstGeom prst="rect">
            <a:avLst/>
          </a:prstGeom>
        </p:spPr>
      </p:pic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9F3EAF3C-99A7-5A9D-D66A-946DC9EC2520}"/>
              </a:ext>
            </a:extLst>
          </p:cNvPr>
          <p:cNvSpPr txBox="1">
            <a:spLocks/>
          </p:cNvSpPr>
          <p:nvPr/>
        </p:nvSpPr>
        <p:spPr>
          <a:xfrm>
            <a:off x="9274459" y="5095130"/>
            <a:ext cx="2486748" cy="706484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750"/>
              </a:spcBef>
              <a:buFont typeface="Arial"/>
              <a:buNone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110000"/>
              </a:lnSpc>
              <a:spcBef>
                <a:spcPts val="375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10000"/>
              </a:lnSpc>
              <a:spcBef>
                <a:spcPts val="375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1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10000"/>
              </a:lnSpc>
              <a:spcBef>
                <a:spcPts val="375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dirty="0"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Reference IOGP Report No. 638 for further information</a:t>
            </a:r>
            <a:endParaRPr lang="en-US" sz="1200" dirty="0">
              <a:latin typeface="+mj-lt"/>
              <a:cs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2BF2BC0-E0D0-6FAA-0C1C-14E4B784C70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53621" y="4674447"/>
            <a:ext cx="1208530" cy="171600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65926713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774365-DD81-9A56-785B-D241F96270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/>
              <a:t>Analysis – Process Safety Fundamentals</a:t>
            </a:r>
            <a:endParaRPr lang="en-US" sz="28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F303B1-D487-E59F-E5C0-064C9701030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0038" y="5308600"/>
            <a:ext cx="11591925" cy="820738"/>
          </a:xfrm>
        </p:spPr>
        <p:txBody>
          <a:bodyPr/>
          <a:lstStyle/>
          <a:p>
            <a:pPr marL="0" indent="0">
              <a:buNone/>
            </a:pPr>
            <a:r>
              <a:rPr lang="en-GB" sz="1800" dirty="0">
                <a:effectLst/>
                <a:latin typeface="+mj-lt"/>
                <a:ea typeface="Calibri" panose="020F0502020204030204" pitchFamily="34" charset="0"/>
              </a:rPr>
              <a:t>PSF were applicable for 68% of the reported Tier 1 PSE (122 of the 190 Tier 1 reports)</a:t>
            </a:r>
            <a:endParaRPr lang="en-US" dirty="0">
              <a:latin typeface="+mj-lt"/>
            </a:endParaRPr>
          </a:p>
        </p:txBody>
      </p:sp>
      <p:pic>
        <p:nvPicPr>
          <p:cNvPr id="4" name="Picture 3" descr="Chart, bar chart&#10;&#10;Description automatically generated">
            <a:extLst>
              <a:ext uri="{FF2B5EF4-FFF2-40B4-BE49-F238E27FC236}">
                <a16:creationId xmlns:a16="http://schemas.microsoft.com/office/drawing/2014/main" id="{6A1A7668-4D7D-2A40-C519-EA85F783ED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46300" y="1884044"/>
            <a:ext cx="7291388" cy="3303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693198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7F55A9-4110-8BF4-F913-53338CAA7A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/>
              <a:t>Conclusions</a:t>
            </a:r>
            <a:endParaRPr lang="en-US" sz="28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05F3AE-3D02-50E3-04B5-DF46E3E080F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0039" y="1808163"/>
            <a:ext cx="11237912" cy="4321175"/>
          </a:xfrm>
        </p:spPr>
        <p:txBody>
          <a:bodyPr/>
          <a:lstStyle/>
          <a:p>
            <a:r>
              <a:rPr lang="en-US" dirty="0"/>
              <a:t>Aligned PSE reporting with standardized metrics and taxonomies enables </a:t>
            </a:r>
            <a:br>
              <a:rPr lang="en-US" dirty="0"/>
            </a:br>
            <a:r>
              <a:rPr lang="en-US" dirty="0"/>
              <a:t>benchmarking and learning:</a:t>
            </a:r>
          </a:p>
          <a:p>
            <a:pPr lvl="1"/>
            <a:r>
              <a:rPr lang="en-US" dirty="0"/>
              <a:t>Keywords</a:t>
            </a:r>
          </a:p>
          <a:p>
            <a:pPr lvl="1"/>
            <a:r>
              <a:rPr lang="en-US" dirty="0"/>
              <a:t>Point of release </a:t>
            </a:r>
          </a:p>
          <a:p>
            <a:pPr lvl="1"/>
            <a:r>
              <a:rPr lang="en-US" dirty="0"/>
              <a:t>Causal factors</a:t>
            </a:r>
          </a:p>
          <a:p>
            <a:pPr lvl="1"/>
            <a:r>
              <a:rPr lang="en-US" dirty="0"/>
              <a:t>Barrier failures</a:t>
            </a:r>
            <a:br>
              <a:rPr lang="en-US" dirty="0"/>
            </a:br>
            <a:endParaRPr lang="en-US" dirty="0"/>
          </a:p>
          <a:p>
            <a:r>
              <a:rPr lang="en-US" dirty="0"/>
              <a:t>Actively use data to identify opportunities to reduce PSEs and eliminate </a:t>
            </a:r>
            <a:br>
              <a:rPr lang="en-US" dirty="0"/>
            </a:br>
            <a:r>
              <a:rPr lang="en-US" dirty="0"/>
              <a:t>fatalities – </a:t>
            </a:r>
            <a:r>
              <a:rPr lang="en-US" i="1" dirty="0">
                <a:solidFill>
                  <a:srgbClr val="0E3881"/>
                </a:solidFill>
              </a:rPr>
              <a:t>moving from data to actio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393322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24DB727-C2AC-FD46-AAA1-B62F9AE199F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Wendy Poore wp@iogp.or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08850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D4C07E-C203-6151-36E3-5DDCF320E0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tent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174F10-A633-BDB0-5A5F-E958CB881A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17972" y="1808163"/>
            <a:ext cx="11591925" cy="4321175"/>
          </a:xfrm>
        </p:spPr>
        <p:txBody>
          <a:bodyPr/>
          <a:lstStyle/>
          <a:p>
            <a:endParaRPr lang="en-US" dirty="0"/>
          </a:p>
          <a:p>
            <a:r>
              <a:rPr lang="en-US" dirty="0"/>
              <a:t>PSE data</a:t>
            </a:r>
          </a:p>
          <a:p>
            <a:r>
              <a:rPr lang="en-US" dirty="0"/>
              <a:t>PSE analysis processes and results</a:t>
            </a:r>
          </a:p>
          <a:p>
            <a:pPr lvl="1"/>
            <a:r>
              <a:rPr lang="en-US" dirty="0"/>
              <a:t>By keyword</a:t>
            </a:r>
          </a:p>
          <a:p>
            <a:pPr lvl="1"/>
            <a:r>
              <a:rPr lang="en-US" dirty="0"/>
              <a:t>By point of release</a:t>
            </a:r>
          </a:p>
          <a:p>
            <a:pPr lvl="1"/>
            <a:r>
              <a:rPr lang="en-US" dirty="0"/>
              <a:t>By causal factors and barriers</a:t>
            </a:r>
          </a:p>
          <a:p>
            <a:r>
              <a:rPr lang="en-US" dirty="0"/>
              <a:t>Development of Process Safety Fundamentals</a:t>
            </a:r>
          </a:p>
          <a:p>
            <a:r>
              <a:rPr lang="en-US" dirty="0"/>
              <a:t>Conclusions</a:t>
            </a:r>
          </a:p>
          <a:p>
            <a:pPr lvl="1"/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68417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3C6FEE-3ADD-81EE-FB0B-EA2ACE3B90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/>
              <a:t>IOGP Reported Fatal Process Safety Events </a:t>
            </a:r>
            <a:r>
              <a:rPr lang="en-GB" sz="1400" dirty="0"/>
              <a:t>(2000-2021 inclusive)</a:t>
            </a:r>
            <a:endParaRPr lang="en-US" sz="14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FA2A97D-746F-7611-C62D-4691C002D8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8325" y="5582788"/>
            <a:ext cx="11591925" cy="531682"/>
          </a:xfrm>
        </p:spPr>
        <p:txBody>
          <a:bodyPr/>
          <a:lstStyle/>
          <a:p>
            <a:r>
              <a:rPr lang="en-US" sz="2000" dirty="0"/>
              <a:t>Fatal PSE occurred annually from 2000 to 2020, 2021 was the first year with no reported fatal PSE</a:t>
            </a:r>
          </a:p>
          <a:p>
            <a:r>
              <a:rPr lang="en-US" sz="2000" dirty="0"/>
              <a:t>PSE involving 3+ fatalities occur, on average, every 14 months</a:t>
            </a:r>
          </a:p>
          <a:p>
            <a:endParaRPr lang="en-US" sz="2000" dirty="0"/>
          </a:p>
        </p:txBody>
      </p:sp>
      <p:pic>
        <p:nvPicPr>
          <p:cNvPr id="4" name="Picture 3" descr="Chart, bar chart&#10;&#10;Description automatically generated">
            <a:extLst>
              <a:ext uri="{FF2B5EF4-FFF2-40B4-BE49-F238E27FC236}">
                <a16:creationId xmlns:a16="http://schemas.microsoft.com/office/drawing/2014/main" id="{311FCC43-741B-DA06-1E8E-A91533B40E2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1544"/>
          <a:stretch/>
        </p:blipFill>
        <p:spPr bwMode="auto">
          <a:xfrm>
            <a:off x="1006891" y="1689166"/>
            <a:ext cx="10178218" cy="399415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5807485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27AC15-7A6C-F693-768C-C30568D2CD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/>
              <a:t>IOGP Member Company reported Tier 1 and 2 PSE Rates </a:t>
            </a:r>
            <a:r>
              <a:rPr lang="en-GB" sz="1400" dirty="0"/>
              <a:t>(2011-2021 inclusive)</a:t>
            </a:r>
            <a:endParaRPr lang="en-US" sz="14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6F8BCE-8EAC-101C-FFEC-5E8352E085E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0038" y="5887602"/>
            <a:ext cx="11591925" cy="349237"/>
          </a:xfrm>
        </p:spPr>
        <p:txBody>
          <a:bodyPr/>
          <a:lstStyle/>
          <a:p>
            <a:pPr marL="0" indent="0" algn="ctr">
              <a:buNone/>
            </a:pPr>
            <a:r>
              <a:rPr lang="en-US" sz="1200" b="1" dirty="0"/>
              <a:t>Note</a:t>
            </a:r>
            <a:r>
              <a:rPr lang="en-US" sz="1200" dirty="0"/>
              <a:t>: 2011-2012 total incidents and rates reflect the introduction of PSE reporting, data collected since 2013 carry greater confidence.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4" name="Picture 3" descr="Chart, bar chart&#10;&#10;Description automatically generated">
            <a:extLst>
              <a:ext uri="{FF2B5EF4-FFF2-40B4-BE49-F238E27FC236}">
                <a16:creationId xmlns:a16="http://schemas.microsoft.com/office/drawing/2014/main" id="{60C59BD4-F2FC-A558-C9E5-AA8768D7BE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93786" y="1887404"/>
            <a:ext cx="7973629" cy="3847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62643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5C2AC6-718E-BDC9-CAEF-740413D8B8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/>
              <a:t>PSE generic Bow and associated 'Key Words'</a:t>
            </a:r>
            <a:endParaRPr lang="en-US" sz="2800" dirty="0"/>
          </a:p>
        </p:txBody>
      </p:sp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1AF4E797-0A78-8BE6-D33C-5BCFC9D7F40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7090" y="1695164"/>
            <a:ext cx="8981242" cy="471824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709784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5C2AC6-718E-BDC9-CAEF-740413D8B8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/>
              <a:t>Point of release for PSE Tier 1 categorization</a:t>
            </a:r>
            <a:endParaRPr lang="en-US" sz="2800" dirty="0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26A85585-E483-802D-6DD2-757348103A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7290140"/>
              </p:ext>
            </p:extLst>
          </p:nvPr>
        </p:nvGraphicFramePr>
        <p:xfrm>
          <a:off x="720635" y="1709633"/>
          <a:ext cx="10750730" cy="4521861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3582810">
                  <a:extLst>
                    <a:ext uri="{9D8B030D-6E8A-4147-A177-3AD203B41FA5}">
                      <a16:colId xmlns:a16="http://schemas.microsoft.com/office/drawing/2014/main" val="3196736579"/>
                    </a:ext>
                  </a:extLst>
                </a:gridCol>
                <a:gridCol w="3583960">
                  <a:extLst>
                    <a:ext uri="{9D8B030D-6E8A-4147-A177-3AD203B41FA5}">
                      <a16:colId xmlns:a16="http://schemas.microsoft.com/office/drawing/2014/main" val="902714718"/>
                    </a:ext>
                  </a:extLst>
                </a:gridCol>
                <a:gridCol w="3583960">
                  <a:extLst>
                    <a:ext uri="{9D8B030D-6E8A-4147-A177-3AD203B41FA5}">
                      <a16:colId xmlns:a16="http://schemas.microsoft.com/office/drawing/2014/main" val="3539100588"/>
                    </a:ext>
                  </a:extLst>
                </a:gridCol>
              </a:tblGrid>
              <a:tr h="263254">
                <a:tc>
                  <a:txBody>
                    <a:bodyPr/>
                    <a:lstStyle/>
                    <a:p>
                      <a:pPr marL="0" marR="0" algn="ctr" hangingPunct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iping Systems</a:t>
                      </a:r>
                      <a:endParaRPr lang="en-US" sz="20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0E388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hangingPunct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quipment</a:t>
                      </a:r>
                      <a:endParaRPr lang="en-US" sz="20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0E388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hangingPunct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nks and Sumps/Pits</a:t>
                      </a:r>
                      <a:endParaRPr lang="en-US" sz="20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0E38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2852630"/>
                  </a:ext>
                </a:extLst>
              </a:tr>
              <a:tr h="1516342">
                <a:tc>
                  <a:txBody>
                    <a:bodyPr/>
                    <a:lstStyle/>
                    <a:p>
                      <a:pPr marL="342900" marR="0" lvl="0" indent="-34290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iping joint  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42900" marR="0" lvl="0" indent="-34290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iping material/tubing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42900" marR="0" lvl="0" indent="-34290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lve (</a:t>
                      </a:r>
                      <a:r>
                        <a:rPr lang="en-US" sz="110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body</a:t>
                      </a:r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stem, plugs)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42900" marR="0" lvl="0" indent="-34290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oke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42900" marR="0" lvl="0" indent="-34290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strumentation and small bore tubing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42900" marR="0" lvl="0" indent="-34290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ght glass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42900" marR="0" lvl="0" indent="-34290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latform/well pad </a:t>
                      </a:r>
                      <a:r>
                        <a:rPr lang="en-US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lowline</a:t>
                      </a:r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 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42900" marR="0" lvl="0" indent="-34290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lexible hose/piping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just" hangingPunct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2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342900" marR="0" lvl="0" indent="-34290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ssure vessel                                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42900" marR="0" lvl="0" indent="-34290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ig launcher/receiver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42900" marR="0" lvl="0" indent="-34290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ump 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42900" marR="0" lvl="0" indent="-34290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ressor/blower/fan  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42900" marR="0" lvl="0" indent="-34290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er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42900" marR="0" lvl="0" indent="-34290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lter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42900" marR="0" lvl="0" indent="-34290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red heater/Boiler/Furnace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42900" marR="0" lvl="0" indent="-34290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wer generation unit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42900" marR="0" lvl="0" indent="-34290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actor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42900" marR="0" lvl="0" indent="-34290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eat exchanger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hangingPunct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2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342900" marR="0" lvl="0" indent="-34290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tmospheric tank  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42900" marR="0" lvl="0" indent="-34290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tmospheric tank overflow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42900" marR="0" lvl="0" indent="-34290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ssurized storage vessel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42900" marR="0" lvl="0" indent="-34290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mp/pit overflow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just" hangingPunct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2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29402101"/>
                  </a:ext>
                </a:extLst>
              </a:tr>
              <a:tr h="276793">
                <a:tc>
                  <a:txBody>
                    <a:bodyPr/>
                    <a:lstStyle/>
                    <a:p>
                      <a:pPr marL="0" marR="0" algn="ctr" hangingPunct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lief, Vent and Discharge Systems</a:t>
                      </a:r>
                      <a:endParaRPr lang="en-US" sz="20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0E388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hangingPunct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eaking Containment Locations</a:t>
                      </a:r>
                      <a:endParaRPr lang="en-US" sz="20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0E388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hangingPunct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ells, Drilling and Intervention</a:t>
                      </a:r>
                      <a:endParaRPr lang="en-US" sz="20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0E38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4158244"/>
                  </a:ext>
                </a:extLst>
              </a:tr>
              <a:tr h="1293357">
                <a:tc>
                  <a:txBody>
                    <a:bodyPr/>
                    <a:lstStyle/>
                    <a:p>
                      <a:pPr marL="342900" marR="0" lvl="0" indent="-34290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lief valve (body, plugs)   </a:t>
                      </a:r>
                      <a:endParaRPr lang="en-US" sz="14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42900" marR="0" lvl="0" indent="-34290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lare and atmospheric vent systems (intended discharge location)</a:t>
                      </a:r>
                      <a:endParaRPr lang="en-US" sz="14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42900" marR="0" lvl="0" indent="-34290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lare and atmospheric vent systems (not at intended discharge location) </a:t>
                      </a:r>
                      <a:endParaRPr lang="en-US" sz="14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42900" marR="0" lvl="0" indent="-34290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rain </a:t>
                      </a:r>
                      <a:endParaRPr lang="en-US" sz="14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42900" marR="0" lvl="0" indent="-34290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scharge to sea</a:t>
                      </a:r>
                      <a:endParaRPr lang="en-US" sz="14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hangingPunct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2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342900" marR="0" lvl="0" indent="-34290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eaking containment location</a:t>
                      </a:r>
                      <a:endParaRPr lang="en-US" sz="14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42900" marR="0" lvl="0" indent="-34290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ading/unloading coupling</a:t>
                      </a:r>
                      <a:endParaRPr lang="en-US" sz="14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42900" marR="0" lvl="0" indent="-34290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mple system </a:t>
                      </a:r>
                      <a:endParaRPr lang="en-US" sz="14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42900" marR="0" lvl="0" indent="-34290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iping/valve (inadvertently left) open to atmosphere</a:t>
                      </a:r>
                      <a:endParaRPr lang="en-US" sz="14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52400" marR="0" hangingPunct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342900" marR="0" lvl="0" indent="-34290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ell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42900" marR="0" lvl="0" indent="-34290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bsea well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42900" marR="0" lvl="0" indent="-34290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ell intervention equipment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42900" marR="0" lvl="0" indent="-34290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ud circuit/tanks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594270797"/>
                  </a:ext>
                </a:extLst>
              </a:tr>
              <a:tr h="263254">
                <a:tc>
                  <a:txBody>
                    <a:bodyPr/>
                    <a:lstStyle/>
                    <a:p>
                      <a:pPr marL="0" marR="0" algn="ctr" hangingPunct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bsea</a:t>
                      </a:r>
                      <a:endParaRPr lang="en-US" sz="20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0E388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hangingPunct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nshore Pipelines/</a:t>
                      </a:r>
                      <a:r>
                        <a:rPr lang="en-US" sz="1100" b="1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lowlines</a:t>
                      </a:r>
                      <a:endParaRPr lang="en-US" sz="20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0E388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hangingPunct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known/Insufficient Information</a:t>
                      </a:r>
                      <a:endParaRPr lang="en-US" sz="20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0E38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4946911"/>
                  </a:ext>
                </a:extLst>
              </a:tr>
              <a:tr h="505447">
                <a:tc>
                  <a:txBody>
                    <a:bodyPr/>
                    <a:lstStyle/>
                    <a:p>
                      <a:pPr marL="342900" marR="0" lvl="0" indent="-34290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bsea Pipeline/Flowline</a:t>
                      </a:r>
                      <a:endParaRPr lang="en-US" sz="14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42900" marR="0" lvl="0" indent="-34290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bsea equipment  </a:t>
                      </a:r>
                      <a:endParaRPr lang="en-US" sz="14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52400" marR="0" hangingPunct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342900" marR="0" lvl="0" indent="-34290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nshore pipeline</a:t>
                      </a:r>
                      <a:endParaRPr lang="en-US" sz="14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42900" marR="0" lvl="0" indent="-34290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nshore flowline</a:t>
                      </a:r>
                      <a:endParaRPr lang="en-US" sz="14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42900" marR="0" lvl="0" indent="-34290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known/ insufficient information</a:t>
                      </a:r>
                      <a:endParaRPr lang="en-US" sz="14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hangingPunct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2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342900" marR="0" lvl="0" indent="-342900" hangingPunct="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known/Insufficient Information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52400" marR="0" hangingPunct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4946729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030318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84F478-B505-7D5C-170A-3EC8FDCB6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Results - Keyword Analysis</a:t>
            </a:r>
          </a:p>
        </p:txBody>
      </p:sp>
      <p:pic>
        <p:nvPicPr>
          <p:cNvPr id="4" name="Picture 3" descr="Chart, pie chart&#10;&#10;Description automatically generated">
            <a:extLst>
              <a:ext uri="{FF2B5EF4-FFF2-40B4-BE49-F238E27FC236}">
                <a16:creationId xmlns:a16="http://schemas.microsoft.com/office/drawing/2014/main" id="{D4907BF1-1227-DEE4-6201-D932093DAE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390" y="2600751"/>
            <a:ext cx="3165343" cy="2514341"/>
          </a:xfrm>
          <a:prstGeom prst="rect">
            <a:avLst/>
          </a:prstGeom>
        </p:spPr>
      </p:pic>
      <p:pic>
        <p:nvPicPr>
          <p:cNvPr id="5" name="Picture 4" descr="Graphical user interface, text&#10;&#10;Description automatically generated with medium confidence">
            <a:extLst>
              <a:ext uri="{FF2B5EF4-FFF2-40B4-BE49-F238E27FC236}">
                <a16:creationId xmlns:a16="http://schemas.microsoft.com/office/drawing/2014/main" id="{C6C585B1-E6D9-ABEA-7C2F-C0C0D46C2B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79335" y="2698531"/>
            <a:ext cx="1585595" cy="2173605"/>
          </a:xfrm>
          <a:prstGeom prst="rect">
            <a:avLst/>
          </a:prstGeom>
        </p:spPr>
      </p:pic>
      <p:pic>
        <p:nvPicPr>
          <p:cNvPr id="6" name="Picture 5" descr="Chart, bar chart&#10;&#10;Description automatically generated">
            <a:extLst>
              <a:ext uri="{FF2B5EF4-FFF2-40B4-BE49-F238E27FC236}">
                <a16:creationId xmlns:a16="http://schemas.microsoft.com/office/drawing/2014/main" id="{EC1ECFA7-1C6C-3DE5-66CB-4D9E47134BE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64930" y="2698531"/>
            <a:ext cx="7427070" cy="246057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E244BE6-711E-9C7C-BD4A-301F447AD199}"/>
              </a:ext>
            </a:extLst>
          </p:cNvPr>
          <p:cNvSpPr txBox="1"/>
          <p:nvPr/>
        </p:nvSpPr>
        <p:spPr>
          <a:xfrm>
            <a:off x="300038" y="1865352"/>
            <a:ext cx="4209252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PSE Tier 1 keyword category analysis 2014-2021, </a:t>
            </a:r>
            <a:r>
              <a:rPr lang="en-GB" sz="1200" dirty="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excluding PSE with ‘Unknown/insufficient information’</a:t>
            </a:r>
            <a:endParaRPr lang="en-US" sz="1200" dirty="0">
              <a:latin typeface="+mj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D8D1F74-84D6-6EA9-E114-9B62EB95D7DF}"/>
              </a:ext>
            </a:extLst>
          </p:cNvPr>
          <p:cNvSpPr txBox="1"/>
          <p:nvPr/>
        </p:nvSpPr>
        <p:spPr>
          <a:xfrm>
            <a:off x="6493783" y="1865351"/>
            <a:ext cx="48636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Number </a:t>
            </a:r>
            <a:r>
              <a:rPr lang="en-GB" sz="1400" dirty="0"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in </a:t>
            </a:r>
            <a:r>
              <a:rPr lang="en-GB" sz="1400" dirty="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keyword category, 2014-2021 by year</a:t>
            </a:r>
            <a:endParaRPr lang="en-US" sz="1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2358746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84F478-B505-7D5C-170A-3EC8FDCB6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Keyword Analysis – Mechanical Failu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E244BE6-711E-9C7C-BD4A-301F447AD199}"/>
              </a:ext>
            </a:extLst>
          </p:cNvPr>
          <p:cNvSpPr txBox="1"/>
          <p:nvPr/>
        </p:nvSpPr>
        <p:spPr>
          <a:xfrm>
            <a:off x="300038" y="1865352"/>
            <a:ext cx="42092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Tier 1 PSE mechanical failure key word assignments, 2014-2021 combined</a:t>
            </a:r>
            <a:endParaRPr lang="en-US" sz="1400" dirty="0">
              <a:latin typeface="+mj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D8D1F74-84D6-6EA9-E114-9B62EB95D7DF}"/>
              </a:ext>
            </a:extLst>
          </p:cNvPr>
          <p:cNvSpPr txBox="1"/>
          <p:nvPr/>
        </p:nvSpPr>
        <p:spPr>
          <a:xfrm>
            <a:off x="6493783" y="1865351"/>
            <a:ext cx="48636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Number of Tier 1 PSE mechanical failure key word assignments, 2014-2021 by year</a:t>
            </a:r>
            <a:endParaRPr lang="en-US" sz="1400" dirty="0">
              <a:latin typeface="+mj-lt"/>
            </a:endParaRPr>
          </a:p>
        </p:txBody>
      </p:sp>
      <p:pic>
        <p:nvPicPr>
          <p:cNvPr id="9" name="Picture 8" descr="Chart, pie chart&#10;&#10;Description automatically generated">
            <a:extLst>
              <a:ext uri="{FF2B5EF4-FFF2-40B4-BE49-F238E27FC236}">
                <a16:creationId xmlns:a16="http://schemas.microsoft.com/office/drawing/2014/main" id="{ABEBC9FA-6284-9B86-FFF1-E0F091BF21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0038" y="2794848"/>
            <a:ext cx="2887345" cy="2399665"/>
          </a:xfrm>
          <a:prstGeom prst="rect">
            <a:avLst/>
          </a:prstGeom>
        </p:spPr>
      </p:pic>
      <p:pic>
        <p:nvPicPr>
          <p:cNvPr id="10" name="Picture 9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973F7B4F-847E-24F2-6CA8-3ED92C256CB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34372" y="2876911"/>
            <a:ext cx="2193290" cy="2282190"/>
          </a:xfrm>
          <a:prstGeom prst="rect">
            <a:avLst/>
          </a:prstGeom>
        </p:spPr>
      </p:pic>
      <p:pic>
        <p:nvPicPr>
          <p:cNvPr id="11" name="Picture 10" descr="Bar chart&#10;&#10;Description automatically generated with low confidence">
            <a:extLst>
              <a:ext uri="{FF2B5EF4-FFF2-40B4-BE49-F238E27FC236}">
                <a16:creationId xmlns:a16="http://schemas.microsoft.com/office/drawing/2014/main" id="{01220146-091E-F0BF-2E2D-8EF196D0A25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74690" y="2728983"/>
            <a:ext cx="6335395" cy="3140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62717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84F478-B505-7D5C-170A-3EC8FDCB6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Keyword Analysis – Operational Human Performanc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E244BE6-711E-9C7C-BD4A-301F447AD199}"/>
              </a:ext>
            </a:extLst>
          </p:cNvPr>
          <p:cNvSpPr txBox="1"/>
          <p:nvPr/>
        </p:nvSpPr>
        <p:spPr>
          <a:xfrm>
            <a:off x="300038" y="1865352"/>
            <a:ext cx="42092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Tier 1 PSE operational human performance key word assignments, 2014-2021 combined</a:t>
            </a:r>
            <a:endParaRPr lang="en-US" sz="1400" dirty="0">
              <a:latin typeface="+mj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D8D1F74-84D6-6EA9-E114-9B62EB95D7DF}"/>
              </a:ext>
            </a:extLst>
          </p:cNvPr>
          <p:cNvSpPr txBox="1"/>
          <p:nvPr/>
        </p:nvSpPr>
        <p:spPr>
          <a:xfrm>
            <a:off x="6493783" y="1865351"/>
            <a:ext cx="48636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>
                <a:effectLst/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Number of Tier 1 PSE operational human performance key word assignments, 2014-2021 by year</a:t>
            </a:r>
            <a:endParaRPr lang="en-US" sz="1400" dirty="0">
              <a:latin typeface="+mj-lt"/>
            </a:endParaRPr>
          </a:p>
        </p:txBody>
      </p:sp>
      <p:pic>
        <p:nvPicPr>
          <p:cNvPr id="3" name="Picture 2" descr="Chart, pie chart&#10;&#10;Description automatically generated">
            <a:extLst>
              <a:ext uri="{FF2B5EF4-FFF2-40B4-BE49-F238E27FC236}">
                <a16:creationId xmlns:a16="http://schemas.microsoft.com/office/drawing/2014/main" id="{BE6A77C3-E64E-24D5-A685-B6C171F99D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0038" y="2805559"/>
            <a:ext cx="3038496" cy="2315747"/>
          </a:xfrm>
          <a:prstGeom prst="rect">
            <a:avLst/>
          </a:prstGeom>
        </p:spPr>
      </p:pic>
      <p:pic>
        <p:nvPicPr>
          <p:cNvPr id="9" name="Picture 8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A35AC632-6FB9-7EF2-CB54-A68AECB8772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0926" y="3127908"/>
            <a:ext cx="2130566" cy="1511499"/>
          </a:xfrm>
          <a:prstGeom prst="rect">
            <a:avLst/>
          </a:prstGeom>
        </p:spPr>
      </p:pic>
      <p:pic>
        <p:nvPicPr>
          <p:cNvPr id="10" name="Picture 9" descr="Chart, bar chart&#10;&#10;Description automatically generated">
            <a:extLst>
              <a:ext uri="{FF2B5EF4-FFF2-40B4-BE49-F238E27FC236}">
                <a16:creationId xmlns:a16="http://schemas.microsoft.com/office/drawing/2014/main" id="{4EEE15A0-3845-BE7F-3961-DACE72D9835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71670" y="2725785"/>
            <a:ext cx="6161603" cy="2751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2594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nFMtXUF1LwmC4TN77OW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heme/theme1.xml><?xml version="1.0" encoding="utf-8"?>
<a:theme xmlns:a="http://schemas.openxmlformats.org/drawingml/2006/main" name="IOGP">
  <a:themeElements>
    <a:clrScheme name="Custom 16">
      <a:dk1>
        <a:srgbClr val="000000"/>
      </a:dk1>
      <a:lt1>
        <a:srgbClr val="FFFFFF"/>
      </a:lt1>
      <a:dk2>
        <a:srgbClr val="53565A"/>
      </a:dk2>
      <a:lt2>
        <a:srgbClr val="FFFFFF"/>
      </a:lt2>
      <a:accent1>
        <a:srgbClr val="DC8633"/>
      </a:accent1>
      <a:accent2>
        <a:srgbClr val="833177"/>
      </a:accent2>
      <a:accent3>
        <a:srgbClr val="385E9D"/>
      </a:accent3>
      <a:accent4>
        <a:srgbClr val="453536"/>
      </a:accent4>
      <a:accent5>
        <a:srgbClr val="802F2D"/>
      </a:accent5>
      <a:accent6>
        <a:srgbClr val="523178"/>
      </a:accent6>
      <a:hlink>
        <a:srgbClr val="385E9D"/>
      </a:hlink>
      <a:folHlink>
        <a:srgbClr val="802F2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C51F0273-F26D-1242-BC88-ADBA231A222A}" vid="{92285A70-2CE3-074D-858D-9BF0B915F7E6}"/>
    </a:ext>
  </a:extLst>
</a:theme>
</file>

<file path=ppt/theme/theme2.xml><?xml version="1.0" encoding="utf-8"?>
<a:theme xmlns:a="http://schemas.openxmlformats.org/drawingml/2006/main" name="1_IOGP">
  <a:themeElements>
    <a:clrScheme name="Custom 16">
      <a:dk1>
        <a:srgbClr val="000000"/>
      </a:dk1>
      <a:lt1>
        <a:srgbClr val="FFFFFF"/>
      </a:lt1>
      <a:dk2>
        <a:srgbClr val="53565A"/>
      </a:dk2>
      <a:lt2>
        <a:srgbClr val="FFFFFF"/>
      </a:lt2>
      <a:accent1>
        <a:srgbClr val="DC8633"/>
      </a:accent1>
      <a:accent2>
        <a:srgbClr val="833177"/>
      </a:accent2>
      <a:accent3>
        <a:srgbClr val="385E9D"/>
      </a:accent3>
      <a:accent4>
        <a:srgbClr val="453536"/>
      </a:accent4>
      <a:accent5>
        <a:srgbClr val="802F2D"/>
      </a:accent5>
      <a:accent6>
        <a:srgbClr val="523178"/>
      </a:accent6>
      <a:hlink>
        <a:srgbClr val="385E9D"/>
      </a:hlink>
      <a:folHlink>
        <a:srgbClr val="802F2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C51F0273-F26D-1242-BC88-ADBA231A222A}" vid="{92285A70-2CE3-074D-858D-9BF0B915F7E6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4b40482-04a4-480f-b826-6548c4a2bcf1" xsi:nil="true"/>
    <_Flow_SignoffStatus xmlns="7604e031-f840-4ad5-97d2-0b99280ee730" xsi:nil="true"/>
    <lcf76f155ced4ddcb4097134ff3c332f xmlns="7604e031-f840-4ad5-97d2-0b99280ee730">
      <Terms xmlns="http://schemas.microsoft.com/office/infopath/2007/PartnerControls"/>
    </lcf76f155ced4ddcb4097134ff3c332f>
    <MediaLengthInSeconds xmlns="7604e031-f840-4ad5-97d2-0b99280ee730" xsi:nil="true"/>
    <SharedWithUsers xmlns="c4b40482-04a4-480f-b826-6548c4a2bcf1">
      <UserInfo>
        <DisplayName/>
        <AccountId xsi:nil="true"/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46A3490C442E41AC9620621F1F21BE" ma:contentTypeVersion="17" ma:contentTypeDescription="Create a new document." ma:contentTypeScope="" ma:versionID="a9657b1df510095f92d4b408480f5c8b">
  <xsd:schema xmlns:xsd="http://www.w3.org/2001/XMLSchema" xmlns:xs="http://www.w3.org/2001/XMLSchema" xmlns:p="http://schemas.microsoft.com/office/2006/metadata/properties" xmlns:ns2="7604e031-f840-4ad5-97d2-0b99280ee730" xmlns:ns3="c4b40482-04a4-480f-b826-6548c4a2bcf1" targetNamespace="http://schemas.microsoft.com/office/2006/metadata/properties" ma:root="true" ma:fieldsID="9b59f0d74fb2eece99aa0f8b61418ac6" ns2:_="" ns3:_="">
    <xsd:import namespace="7604e031-f840-4ad5-97d2-0b99280ee730"/>
    <xsd:import namespace="c4b40482-04a4-480f-b826-6548c4a2bcf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_Flow_SignoffStatu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04e031-f840-4ad5-97d2-0b99280ee73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_Flow_SignoffStatus" ma:index="18" nillable="true" ma:displayName="Sign-off status" ma:internalName="Sign_x002d_off_x0020_status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456237a7-7071-4e19-8c1f-699d1949a4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4b40482-04a4-480f-b826-6548c4a2bcf1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956402f1-dbcc-4c60-a824-dfd545cfc5e6}" ma:internalName="TaxCatchAll" ma:showField="CatchAllData" ma:web="c4b40482-04a4-480f-b826-6548c4a2bc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FFF6E6C-D427-43A5-A060-7C3ADA09403F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e4b46046-9d15-49c8-b99f-4e6251357f66"/>
    <ds:schemaRef ds:uri="7329af5a-ead5-403f-8dd1-e30bd7e68ab4"/>
    <ds:schemaRef ds:uri="c4b40482-04a4-480f-b826-6548c4a2bcf1"/>
    <ds:schemaRef ds:uri="7604e031-f840-4ad5-97d2-0b99280ee730"/>
  </ds:schemaRefs>
</ds:datastoreItem>
</file>

<file path=customXml/itemProps2.xml><?xml version="1.0" encoding="utf-8"?>
<ds:datastoreItem xmlns:ds="http://schemas.openxmlformats.org/officeDocument/2006/customXml" ds:itemID="{76275BB8-9FCA-4387-82F8-C4D0B617831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7332234-20C3-42EE-8F8F-A4942C7EAFA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604e031-f840-4ad5-97d2-0b99280ee730"/>
    <ds:schemaRef ds:uri="c4b40482-04a4-480f-b826-6548c4a2bcf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69bf4a9-87bd-4dbf-a36c-1db5158e5def}" enabled="1" method="Privileged" siteId="{ea80952e-a476-42d4-aaf4-5457852b0f7e}" removed="0"/>
  <clbl:label id="{8bb759f6-5337-4dc5-b19b-e74b6da11f8f}" enabled="1" method="Privileged" siteId="{41ff26dc-250f-4b13-8981-739be8610c21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19</TotalTime>
  <Words>793</Words>
  <Application>Microsoft Office PowerPoint</Application>
  <PresentationFormat>Widescreen</PresentationFormat>
  <Paragraphs>148</Paragraphs>
  <Slides>17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5" baseType="lpstr">
      <vt:lpstr>Arial</vt:lpstr>
      <vt:lpstr>Calibri</vt:lpstr>
      <vt:lpstr>Symbol</vt:lpstr>
      <vt:lpstr>Univers for BP</vt:lpstr>
      <vt:lpstr>Univers for BP Light</vt:lpstr>
      <vt:lpstr>IOGP</vt:lpstr>
      <vt:lpstr>1_IOGP</vt:lpstr>
      <vt:lpstr>think-cell Slide</vt:lpstr>
      <vt:lpstr>PowerPoint Presentation</vt:lpstr>
      <vt:lpstr>Content</vt:lpstr>
      <vt:lpstr>IOGP Reported Fatal Process Safety Events (2000-2021 inclusive)</vt:lpstr>
      <vt:lpstr>IOGP Member Company reported Tier 1 and 2 PSE Rates (2011-2021 inclusive)</vt:lpstr>
      <vt:lpstr>PSE generic Bow and associated 'Key Words'</vt:lpstr>
      <vt:lpstr>Point of release for PSE Tier 1 categorization</vt:lpstr>
      <vt:lpstr>Results - Keyword Analysis</vt:lpstr>
      <vt:lpstr>Keyword Analysis – Mechanical Failure</vt:lpstr>
      <vt:lpstr>Keyword Analysis – Operational Human Performance</vt:lpstr>
      <vt:lpstr>Keyword Analysis – Outside Operating Envelope</vt:lpstr>
      <vt:lpstr>Results – Point of Release Analysis</vt:lpstr>
      <vt:lpstr>Point of Release – Further Analysis</vt:lpstr>
      <vt:lpstr>PSE Tier 1 Causal Factor and Barrier Analysis 2014-2021</vt:lpstr>
      <vt:lpstr>Development of Process Safety Fundamentals</vt:lpstr>
      <vt:lpstr>Analysis – Process Safety Fundamentals</vt:lpstr>
      <vt:lpstr>Conclusion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iana Carvalho</dc:creator>
  <cp:lastModifiedBy>Rachel Robinson</cp:lastModifiedBy>
  <cp:revision>17</cp:revision>
  <dcterms:created xsi:type="dcterms:W3CDTF">2022-02-10T19:50:14Z</dcterms:created>
  <dcterms:modified xsi:type="dcterms:W3CDTF">2022-11-01T15:51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646A3490C442E41AC9620621F1F21BE</vt:lpwstr>
  </property>
  <property fmtid="{D5CDD505-2E9C-101B-9397-08002B2CF9AE}" pid="3" name="Document type">
    <vt:lpwstr/>
  </property>
  <property fmtid="{D5CDD505-2E9C-101B-9397-08002B2CF9AE}" pid="4" name="MSIP_Label_585f1f62-8d2b-4457-869c-0a13c6549635_Enabled">
    <vt:lpwstr>True</vt:lpwstr>
  </property>
  <property fmtid="{D5CDD505-2E9C-101B-9397-08002B2CF9AE}" pid="5" name="MSIP_Label_585f1f62-8d2b-4457-869c-0a13c6549635_SiteId">
    <vt:lpwstr>41ff26dc-250f-4b13-8981-739be8610c21</vt:lpwstr>
  </property>
  <property fmtid="{D5CDD505-2E9C-101B-9397-08002B2CF9AE}" pid="6" name="MSIP_Label_585f1f62-8d2b-4457-869c-0a13c6549635_Owner">
    <vt:lpwstr>kiwalker@slb.com</vt:lpwstr>
  </property>
  <property fmtid="{D5CDD505-2E9C-101B-9397-08002B2CF9AE}" pid="7" name="MSIP_Label_585f1f62-8d2b-4457-869c-0a13c6549635_SetDate">
    <vt:lpwstr>2022-02-27T10:33:32.8742187Z</vt:lpwstr>
  </property>
  <property fmtid="{D5CDD505-2E9C-101B-9397-08002B2CF9AE}" pid="8" name="MSIP_Label_585f1f62-8d2b-4457-869c-0a13c6549635_Name">
    <vt:lpwstr>Private</vt:lpwstr>
  </property>
  <property fmtid="{D5CDD505-2E9C-101B-9397-08002B2CF9AE}" pid="9" name="MSIP_Label_585f1f62-8d2b-4457-869c-0a13c6549635_Application">
    <vt:lpwstr>Microsoft Azure Information Protection</vt:lpwstr>
  </property>
  <property fmtid="{D5CDD505-2E9C-101B-9397-08002B2CF9AE}" pid="10" name="MSIP_Label_585f1f62-8d2b-4457-869c-0a13c6549635_ActionId">
    <vt:lpwstr>336c468d-a1ed-4458-a58b-8589b00da1b1</vt:lpwstr>
  </property>
  <property fmtid="{D5CDD505-2E9C-101B-9397-08002B2CF9AE}" pid="11" name="MSIP_Label_585f1f62-8d2b-4457-869c-0a13c6549635_Extended_MSFT_Method">
    <vt:lpwstr>Automatic</vt:lpwstr>
  </property>
  <property fmtid="{D5CDD505-2E9C-101B-9397-08002B2CF9AE}" pid="12" name="MSIP_Label_8bb759f6-5337-4dc5-b19b-e74b6da11f8f_Enabled">
    <vt:lpwstr>True</vt:lpwstr>
  </property>
  <property fmtid="{D5CDD505-2E9C-101B-9397-08002B2CF9AE}" pid="13" name="MSIP_Label_8bb759f6-5337-4dc5-b19b-e74b6da11f8f_SiteId">
    <vt:lpwstr>41ff26dc-250f-4b13-8981-739be8610c21</vt:lpwstr>
  </property>
  <property fmtid="{D5CDD505-2E9C-101B-9397-08002B2CF9AE}" pid="14" name="MSIP_Label_8bb759f6-5337-4dc5-b19b-e74b6da11f8f_Owner">
    <vt:lpwstr>kiwalker@slb.com</vt:lpwstr>
  </property>
  <property fmtid="{D5CDD505-2E9C-101B-9397-08002B2CF9AE}" pid="15" name="MSIP_Label_8bb759f6-5337-4dc5-b19b-e74b6da11f8f_SetDate">
    <vt:lpwstr>2022-02-27T10:33:32.8742187Z</vt:lpwstr>
  </property>
  <property fmtid="{D5CDD505-2E9C-101B-9397-08002B2CF9AE}" pid="16" name="MSIP_Label_8bb759f6-5337-4dc5-b19b-e74b6da11f8f_Name">
    <vt:lpwstr>Internal</vt:lpwstr>
  </property>
  <property fmtid="{D5CDD505-2E9C-101B-9397-08002B2CF9AE}" pid="17" name="MSIP_Label_8bb759f6-5337-4dc5-b19b-e74b6da11f8f_Application">
    <vt:lpwstr>Microsoft Azure Information Protection</vt:lpwstr>
  </property>
  <property fmtid="{D5CDD505-2E9C-101B-9397-08002B2CF9AE}" pid="18" name="MSIP_Label_8bb759f6-5337-4dc5-b19b-e74b6da11f8f_ActionId">
    <vt:lpwstr>336c468d-a1ed-4458-a58b-8589b00da1b1</vt:lpwstr>
  </property>
  <property fmtid="{D5CDD505-2E9C-101B-9397-08002B2CF9AE}" pid="19" name="MSIP_Label_8bb759f6-5337-4dc5-b19b-e74b6da11f8f_Parent">
    <vt:lpwstr>585f1f62-8d2b-4457-869c-0a13c6549635</vt:lpwstr>
  </property>
  <property fmtid="{D5CDD505-2E9C-101B-9397-08002B2CF9AE}" pid="20" name="MSIP_Label_8bb759f6-5337-4dc5-b19b-e74b6da11f8f_Extended_MSFT_Method">
    <vt:lpwstr>Automatic</vt:lpwstr>
  </property>
  <property fmtid="{D5CDD505-2E9C-101B-9397-08002B2CF9AE}" pid="21" name="MSIP_Label_569bf4a9-87bd-4dbf-a36c-1db5158e5def_Enabled">
    <vt:lpwstr>true</vt:lpwstr>
  </property>
  <property fmtid="{D5CDD505-2E9C-101B-9397-08002B2CF9AE}" pid="22" name="MSIP_Label_569bf4a9-87bd-4dbf-a36c-1db5158e5def_SetDate">
    <vt:lpwstr>2022-09-09T11:59:35Z</vt:lpwstr>
  </property>
  <property fmtid="{D5CDD505-2E9C-101B-9397-08002B2CF9AE}" pid="23" name="MSIP_Label_569bf4a9-87bd-4dbf-a36c-1db5158e5def_Method">
    <vt:lpwstr>Privileged</vt:lpwstr>
  </property>
  <property fmtid="{D5CDD505-2E9C-101B-9397-08002B2CF9AE}" pid="24" name="MSIP_Label_569bf4a9-87bd-4dbf-a36c-1db5158e5def_Name">
    <vt:lpwstr>569bf4a9-87bd-4dbf-a36c-1db5158e5def</vt:lpwstr>
  </property>
  <property fmtid="{D5CDD505-2E9C-101B-9397-08002B2CF9AE}" pid="25" name="MSIP_Label_569bf4a9-87bd-4dbf-a36c-1db5158e5def_SiteId">
    <vt:lpwstr>ea80952e-a476-42d4-aaf4-5457852b0f7e</vt:lpwstr>
  </property>
  <property fmtid="{D5CDD505-2E9C-101B-9397-08002B2CF9AE}" pid="26" name="MSIP_Label_569bf4a9-87bd-4dbf-a36c-1db5158e5def_ActionId">
    <vt:lpwstr>b3124f1c-3f4d-479b-acfb-02cde29aefc6</vt:lpwstr>
  </property>
  <property fmtid="{D5CDD505-2E9C-101B-9397-08002B2CF9AE}" pid="27" name="MSIP_Label_569bf4a9-87bd-4dbf-a36c-1db5158e5def_ContentBits">
    <vt:lpwstr>0</vt:lpwstr>
  </property>
  <property fmtid="{D5CDD505-2E9C-101B-9397-08002B2CF9AE}" pid="28" name="_SourceUrl">
    <vt:lpwstr/>
  </property>
  <property fmtid="{D5CDD505-2E9C-101B-9397-08002B2CF9AE}" pid="29" name="_SharedFileIndex">
    <vt:lpwstr/>
  </property>
  <property fmtid="{D5CDD505-2E9C-101B-9397-08002B2CF9AE}" pid="30" name="ComplianceAssetId">
    <vt:lpwstr/>
  </property>
  <property fmtid="{D5CDD505-2E9C-101B-9397-08002B2CF9AE}" pid="31" name="_ExtendedDescription">
    <vt:lpwstr/>
  </property>
  <property fmtid="{D5CDD505-2E9C-101B-9397-08002B2CF9AE}" pid="32" name="TriggerFlowInfo">
    <vt:lpwstr/>
  </property>
  <property fmtid="{D5CDD505-2E9C-101B-9397-08002B2CF9AE}" pid="33" name="MediaServiceImageTags">
    <vt:lpwstr/>
  </property>
</Properties>
</file>